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xml" ContentType="application/vnd.openxmlformats-officedocument.presentationml.notesSlide+xml"/>
  <Override PartName="/ppt/tags/tag79.xml" ContentType="application/vnd.openxmlformats-officedocument.presentationml.tags+xml"/>
  <Override PartName="/ppt/notesSlides/notesSlide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2" r:id="rId4"/>
    <p:sldMasterId id="2147483892" r:id="rId5"/>
  </p:sldMasterIdLst>
  <p:notesMasterIdLst>
    <p:notesMasterId r:id="rId14"/>
  </p:notesMasterIdLst>
  <p:handoutMasterIdLst>
    <p:handoutMasterId r:id="rId15"/>
  </p:handoutMasterIdLst>
  <p:sldIdLst>
    <p:sldId id="396" r:id="rId6"/>
    <p:sldId id="2147470852" r:id="rId7"/>
    <p:sldId id="402" r:id="rId8"/>
    <p:sldId id="2147470853" r:id="rId9"/>
    <p:sldId id="398" r:id="rId10"/>
    <p:sldId id="385" r:id="rId11"/>
    <p:sldId id="386" r:id="rId12"/>
    <p:sldId id="397" r:id="rId13"/>
  </p:sldIdLst>
  <p:sldSz cx="12192000" cy="6858000"/>
  <p:notesSz cx="6950075" cy="92360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7CA709-868F-4F92-A616-552DA0217E09}" v="43" dt="2023-04-04T18:30:57.136"/>
  </p1510:revLst>
</p1510:revInfo>
</file>

<file path=ppt/tableStyles.xml><?xml version="1.0" encoding="utf-8"?>
<a:tblStyleLst xmlns:a="http://schemas.openxmlformats.org/drawingml/2006/main" def="{5C22544A-7EE6-4342-B048-85BDC9FD1C3A}">
  <a:tblStyle styleId="{0817EA92-75D0-4044-A80A-286907CE0DDB}" styleName="Custom Table Style">
    <a:wholeTbl>
      <a:tcTxStyle>
        <a:fontRef idx="minor">
          <a:prstClr val="black"/>
        </a:fontRef>
        <a:schemeClr val="lt2"/>
      </a:tcTxStyle>
      <a:tcStyle>
        <a:tcBdr>
          <a:left>
            <a:ln w="9000" cmpd="sng">
              <a:solidFill>
                <a:srgbClr val="C4C4CD"/>
              </a:solidFill>
            </a:ln>
          </a:left>
          <a:right>
            <a:ln w="9000" cmpd="sng">
              <a:solidFill>
                <a:srgbClr val="C4C4CD"/>
              </a:solidFill>
            </a:ln>
          </a:right>
          <a:top>
            <a:ln w="9000" cmpd="sng">
              <a:solidFill>
                <a:srgbClr val="C4C4CD"/>
              </a:solidFill>
            </a:ln>
          </a:top>
          <a:bottom>
            <a:ln w="9000" cmpd="sng">
              <a:solidFill>
                <a:srgbClr val="C4C4CD"/>
              </a:solidFill>
            </a:ln>
          </a:bottom>
          <a:insideH>
            <a:ln w="9000" cmpd="sng">
              <a:solidFill>
                <a:srgbClr val="C4C4CD"/>
              </a:solidFill>
            </a:ln>
          </a:insideH>
          <a:insideV>
            <a:ln w="9000" cmpd="sng">
              <a:solidFill>
                <a:srgbClr val="C4C4CD"/>
              </a:solidFill>
            </a:ln>
          </a:insideV>
        </a:tcBdr>
        <a:fill>
          <a:solidFill>
            <a:schemeClr val="tx1"/>
          </a:solidFill>
        </a:fill>
      </a:tcStyle>
    </a:wholeTbl>
    <a:band1H>
      <a:tcStyle>
        <a:tcBdr/>
      </a:tcStyle>
    </a:band1H>
    <a:band2H>
      <a:tcStyle>
        <a:tcBdr/>
      </a:tcStyle>
    </a:band2H>
    <a:band1V>
      <a:tcStyle>
        <a:tcBdr>
          <a:insideH>
            <a:ln w="9000" cmpd="sng">
              <a:solidFill>
                <a:srgbClr val="FFFFFF"/>
              </a:solidFill>
            </a:ln>
          </a:insideH>
        </a:tcBdr>
        <a:fill>
          <a:solidFill>
            <a:srgbClr val="C4C4CD"/>
          </a:solidFill>
        </a:fill>
      </a:tcStyle>
    </a:band1V>
    <a:band2V>
      <a:tcStyle>
        <a:tcBdr/>
      </a:tcStyle>
    </a:band2V>
    <a:lastCol>
      <a:tcTxStyle>
        <a:fontRef idx="minor">
          <a:prstClr val="black"/>
        </a:fontRef>
        <a:schemeClr val="dk1"/>
      </a:tcTxStyle>
      <a:tcStyle>
        <a:tcBdr>
          <a:insideH>
            <a:ln w="9000" cmpd="sng">
              <a:solidFill>
                <a:srgbClr val="FFFFFF"/>
              </a:solidFill>
            </a:ln>
          </a:insideH>
        </a:tcBdr>
        <a:fill>
          <a:solidFill>
            <a:srgbClr val="1A9AFA"/>
          </a:solidFill>
        </a:fill>
      </a:tcStyle>
    </a:lastCol>
    <a:firstCol>
      <a:tcTxStyle>
        <a:fontRef idx="minor">
          <a:prstClr val="black"/>
        </a:fontRef>
        <a:schemeClr val="dk1"/>
      </a:tcTxStyle>
      <a:tcStyle>
        <a:tcBdr>
          <a:insideH>
            <a:ln w="9000" cmpd="sng">
              <a:solidFill>
                <a:srgbClr val="FFFFFF"/>
              </a:solidFill>
            </a:ln>
          </a:insideH>
        </a:tcBdr>
        <a:fill>
          <a:solidFill>
            <a:srgbClr val="1A9AFA"/>
          </a:solidFill>
        </a:fill>
      </a:tcStyle>
    </a:firstCol>
    <a:lastRow>
      <a:tcTxStyle>
        <a:fontRef idx="minor">
          <a:prstClr val="black"/>
        </a:fontRef>
        <a:schemeClr val="dk1"/>
      </a:tcTxStyle>
      <a:tcStyle>
        <a:tcBdr>
          <a:top>
            <a:ln w="9000" cmpd="sng">
              <a:solidFill>
                <a:srgbClr val="FFFFFF"/>
              </a:solidFill>
            </a:ln>
          </a:top>
          <a:insideV>
            <a:ln w="9000" cmpd="sng">
              <a:solidFill>
                <a:srgbClr val="FFFFFF"/>
              </a:solidFill>
            </a:ln>
          </a:insideV>
        </a:tcBdr>
        <a:fill>
          <a:solidFill>
            <a:srgbClr val="1A9AFA"/>
          </a:solidFill>
        </a:fill>
      </a:tcStyle>
    </a:lastRow>
    <a:firstRow>
      <a:tcTxStyle>
        <a:fontRef idx="minor">
          <a:prstClr val="black"/>
        </a:fontRef>
        <a:schemeClr val="dk1"/>
      </a:tcTxStyle>
      <a:tcStyle>
        <a:tcBdr>
          <a:bottom>
            <a:ln w="9000" cmpd="sng">
              <a:solidFill>
                <a:srgbClr val="C4C4CD"/>
              </a:solidFill>
            </a:ln>
          </a:bottom>
        </a:tcBdr>
        <a:fill>
          <a:solidFill>
            <a:srgbClr val="747480"/>
          </a:solidFill>
        </a:fill>
      </a:tcStyle>
    </a:firstRow>
  </a:tblStyle>
  <a:tblStyle styleId="{5C22544A-7EE6-4342-B048-85BDC9FD1C3A}" styleName="Medium Style 2 - Accent 1">
    <a:wholeTbl>
      <a:tcTxStyle>
        <a:fontRef idx="minor">
          <a:prstClr val="black"/>
        </a:fontRef>
        <a:schemeClr val="dk1"/>
      </a:tcTxStyle>
      <a:tcStyle>
        <a:tcBdr>
          <a:left>
            <a:ln w="9000" cmpd="sng">
              <a:solidFill>
                <a:schemeClr val="lt1"/>
              </a:solidFill>
            </a:ln>
          </a:left>
          <a:right>
            <a:ln w="9000" cmpd="sng">
              <a:solidFill>
                <a:schemeClr val="lt1"/>
              </a:solidFill>
            </a:ln>
          </a:right>
          <a:top>
            <a:ln w="9000" cmpd="sng">
              <a:solidFill>
                <a:schemeClr val="lt1"/>
              </a:solidFill>
            </a:ln>
          </a:top>
          <a:bottom>
            <a:ln w="9000" cmpd="sng">
              <a:solidFill>
                <a:schemeClr val="lt1"/>
              </a:solidFill>
            </a:ln>
          </a:bottom>
          <a:insideH>
            <a:ln w="9000" cmpd="sng">
              <a:solidFill>
                <a:schemeClr val="lt1"/>
              </a:solidFill>
            </a:ln>
          </a:insideH>
          <a:insideV>
            <a:ln w="90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dk1"/>
      </a:tcTxStyle>
      <a:tcStyle>
        <a:tcBdr/>
        <a:fill>
          <a:solidFill>
            <a:schemeClr val="accent1"/>
          </a:solidFill>
        </a:fill>
      </a:tcStyle>
    </a:lastCol>
    <a:firstCol>
      <a:tcTxStyle b="on">
        <a:fontRef idx="minor">
          <a:prstClr val="black"/>
        </a:fontRef>
        <a:schemeClr val="dk1"/>
      </a:tcTxStyle>
      <a:tcStyle>
        <a:tcBdr/>
        <a:fill>
          <a:solidFill>
            <a:schemeClr val="accent1"/>
          </a:solidFill>
        </a:fill>
      </a:tcStyle>
    </a:firstCol>
    <a:lastRow>
      <a:tcTxStyle b="on">
        <a:fontRef idx="minor">
          <a:prstClr val="black"/>
        </a:fontRef>
        <a:schemeClr val="dk1"/>
      </a:tcTxStyle>
      <a:tcStyle>
        <a:tcBdr>
          <a:top>
            <a:ln w="9000" cmpd="sng">
              <a:solidFill>
                <a:schemeClr val="lt1"/>
              </a:solidFill>
            </a:ln>
          </a:top>
        </a:tcBdr>
        <a:fill>
          <a:solidFill>
            <a:schemeClr val="accent1"/>
          </a:solidFill>
        </a:fill>
      </a:tcStyle>
    </a:lastRow>
    <a:firstRow>
      <a:tcTxStyle b="on">
        <a:fontRef idx="minor">
          <a:prstClr val="black"/>
        </a:fontRef>
        <a:schemeClr val="dk1"/>
      </a:tcTxStyle>
      <a:tcStyle>
        <a:tcBdr>
          <a:bottom>
            <a:ln w="90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26" autoAdjust="0"/>
  </p:normalViewPr>
  <p:slideViewPr>
    <p:cSldViewPr snapToGrid="0" snapToObjects="1" showGuides="1">
      <p:cViewPr>
        <p:scale>
          <a:sx n="75" d="100"/>
          <a:sy n="75" d="100"/>
        </p:scale>
        <p:origin x="902" y="216"/>
      </p:cViewPr>
      <p:guideLst/>
    </p:cSldViewPr>
  </p:slideViewPr>
  <p:outlineViewPr>
    <p:cViewPr>
      <p:scale>
        <a:sx n="33" d="100"/>
        <a:sy n="33" d="100"/>
      </p:scale>
      <p:origin x="0" y="-2405"/>
    </p:cViewPr>
  </p:outlineViewPr>
  <p:notesTextViewPr>
    <p:cViewPr>
      <p:scale>
        <a:sx n="50" d="100"/>
        <a:sy n="50" d="100"/>
      </p:scale>
      <p:origin x="0" y="0"/>
    </p:cViewPr>
  </p:notesTextViewPr>
  <p:sorterViewPr>
    <p:cViewPr>
      <p:scale>
        <a:sx n="130" d="100"/>
        <a:sy n="130" d="100"/>
      </p:scale>
      <p:origin x="0" y="-198"/>
    </p:cViewPr>
  </p:sorterViewPr>
  <p:notesViewPr>
    <p:cSldViewPr snapToGrid="0" snapToObjects="1" showGuides="1">
      <p:cViewPr varScale="1">
        <p:scale>
          <a:sx n="83" d="100"/>
          <a:sy n="83" d="100"/>
        </p:scale>
        <p:origin x="2976" y="96"/>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iya Roy" userId="1bdec0f2-4fa1-4a37-8e18-33e8ca993fc1" providerId="ADAL" clId="{497CA709-868F-4F92-A616-552DA0217E09}"/>
    <pc:docChg chg="undo custSel addSld delSld modSld modMainMaster">
      <pc:chgData name="Priya Roy" userId="1bdec0f2-4fa1-4a37-8e18-33e8ca993fc1" providerId="ADAL" clId="{497CA709-868F-4F92-A616-552DA0217E09}" dt="2023-04-04T18:31:06.219" v="719" actId="1076"/>
      <pc:docMkLst>
        <pc:docMk/>
      </pc:docMkLst>
      <pc:sldChg chg="del">
        <pc:chgData name="Priya Roy" userId="1bdec0f2-4fa1-4a37-8e18-33e8ca993fc1" providerId="ADAL" clId="{497CA709-868F-4F92-A616-552DA0217E09}" dt="2023-04-04T17:55:31.047" v="117" actId="47"/>
        <pc:sldMkLst>
          <pc:docMk/>
          <pc:sldMk cId="959597404" sldId="296"/>
        </pc:sldMkLst>
      </pc:sldChg>
      <pc:sldChg chg="del">
        <pc:chgData name="Priya Roy" userId="1bdec0f2-4fa1-4a37-8e18-33e8ca993fc1" providerId="ADAL" clId="{497CA709-868F-4F92-A616-552DA0217E09}" dt="2023-04-04T17:55:20.018" v="116" actId="47"/>
        <pc:sldMkLst>
          <pc:docMk/>
          <pc:sldMk cId="4123127974" sldId="387"/>
        </pc:sldMkLst>
      </pc:sldChg>
      <pc:sldChg chg="del">
        <pc:chgData name="Priya Roy" userId="1bdec0f2-4fa1-4a37-8e18-33e8ca993fc1" providerId="ADAL" clId="{497CA709-868F-4F92-A616-552DA0217E09}" dt="2023-04-04T17:55:16.897" v="115" actId="47"/>
        <pc:sldMkLst>
          <pc:docMk/>
          <pc:sldMk cId="1035805244" sldId="399"/>
        </pc:sldMkLst>
      </pc:sldChg>
      <pc:sldChg chg="addSp delSp modSp mod">
        <pc:chgData name="Priya Roy" userId="1bdec0f2-4fa1-4a37-8e18-33e8ca993fc1" providerId="ADAL" clId="{497CA709-868F-4F92-A616-552DA0217E09}" dt="2023-04-04T17:57:03.073" v="133" actId="1076"/>
        <pc:sldMkLst>
          <pc:docMk/>
          <pc:sldMk cId="453516867" sldId="402"/>
        </pc:sldMkLst>
        <pc:spChg chg="del">
          <ac:chgData name="Priya Roy" userId="1bdec0f2-4fa1-4a37-8e18-33e8ca993fc1" providerId="ADAL" clId="{497CA709-868F-4F92-A616-552DA0217E09}" dt="2023-04-04T17:56:24.005" v="122" actId="478"/>
          <ac:spMkLst>
            <pc:docMk/>
            <pc:sldMk cId="453516867" sldId="402"/>
            <ac:spMk id="3" creationId="{00000000-0000-0000-0000-000000000000}"/>
          </ac:spMkLst>
        </pc:spChg>
        <pc:spChg chg="add del mod">
          <ac:chgData name="Priya Roy" userId="1bdec0f2-4fa1-4a37-8e18-33e8ca993fc1" providerId="ADAL" clId="{497CA709-868F-4F92-A616-552DA0217E09}" dt="2023-04-04T17:56:26.089" v="123" actId="478"/>
          <ac:spMkLst>
            <pc:docMk/>
            <pc:sldMk cId="453516867" sldId="402"/>
            <ac:spMk id="4" creationId="{1B38A27B-6E77-480F-A359-81055DA2D671}"/>
          </ac:spMkLst>
        </pc:spChg>
        <pc:spChg chg="mod">
          <ac:chgData name="Priya Roy" userId="1bdec0f2-4fa1-4a37-8e18-33e8ca993fc1" providerId="ADAL" clId="{497CA709-868F-4F92-A616-552DA0217E09}" dt="2023-04-04T17:57:03.073" v="133" actId="1076"/>
          <ac:spMkLst>
            <pc:docMk/>
            <pc:sldMk cId="453516867" sldId="402"/>
            <ac:spMk id="6" creationId="{3A675D48-E4E5-408C-A6C7-FE387E4C619F}"/>
          </ac:spMkLst>
        </pc:spChg>
      </pc:sldChg>
      <pc:sldChg chg="modSp mod">
        <pc:chgData name="Priya Roy" userId="1bdec0f2-4fa1-4a37-8e18-33e8ca993fc1" providerId="ADAL" clId="{497CA709-868F-4F92-A616-552DA0217E09}" dt="2023-04-04T17:55:10.175" v="114" actId="20578"/>
        <pc:sldMkLst>
          <pc:docMk/>
          <pc:sldMk cId="576308817" sldId="2147470852"/>
        </pc:sldMkLst>
        <pc:spChg chg="mod">
          <ac:chgData name="Priya Roy" userId="1bdec0f2-4fa1-4a37-8e18-33e8ca993fc1" providerId="ADAL" clId="{497CA709-868F-4F92-A616-552DA0217E09}" dt="2023-04-04T17:55:10.175" v="114" actId="20578"/>
          <ac:spMkLst>
            <pc:docMk/>
            <pc:sldMk cId="576308817" sldId="2147470852"/>
            <ac:spMk id="4" creationId="{E305FEB3-3D98-4B0F-B3CC-08317ABD4F22}"/>
          </ac:spMkLst>
        </pc:spChg>
      </pc:sldChg>
      <pc:sldChg chg="new del">
        <pc:chgData name="Priya Roy" userId="1bdec0f2-4fa1-4a37-8e18-33e8ca993fc1" providerId="ADAL" clId="{497CA709-868F-4F92-A616-552DA0217E09}" dt="2023-04-04T17:57:14.441" v="135" actId="47"/>
        <pc:sldMkLst>
          <pc:docMk/>
          <pc:sldMk cId="702535862" sldId="2147470853"/>
        </pc:sldMkLst>
      </pc:sldChg>
      <pc:sldChg chg="addSp delSp modSp new mod">
        <pc:chgData name="Priya Roy" userId="1bdec0f2-4fa1-4a37-8e18-33e8ca993fc1" providerId="ADAL" clId="{497CA709-868F-4F92-A616-552DA0217E09}" dt="2023-04-04T18:31:06.219" v="719" actId="1076"/>
        <pc:sldMkLst>
          <pc:docMk/>
          <pc:sldMk cId="4039488280" sldId="2147470853"/>
        </pc:sldMkLst>
        <pc:spChg chg="add del mod">
          <ac:chgData name="Priya Roy" userId="1bdec0f2-4fa1-4a37-8e18-33e8ca993fc1" providerId="ADAL" clId="{497CA709-868F-4F92-A616-552DA0217E09}" dt="2023-04-04T18:25:44.467" v="638" actId="2711"/>
          <ac:spMkLst>
            <pc:docMk/>
            <pc:sldMk cId="4039488280" sldId="2147470853"/>
            <ac:spMk id="2" creationId="{D07F8CFA-93A6-459E-87C8-DA9AED66D421}"/>
          </ac:spMkLst>
        </pc:spChg>
        <pc:spChg chg="add del mod">
          <ac:chgData name="Priya Roy" userId="1bdec0f2-4fa1-4a37-8e18-33e8ca993fc1" providerId="ADAL" clId="{497CA709-868F-4F92-A616-552DA0217E09}" dt="2023-04-04T18:05:55.235" v="148" actId="478"/>
          <ac:spMkLst>
            <pc:docMk/>
            <pc:sldMk cId="4039488280" sldId="2147470853"/>
            <ac:spMk id="3" creationId="{725CA127-B5A2-47DF-A6F8-D4D6B1E59640}"/>
          </ac:spMkLst>
        </pc:spChg>
        <pc:spChg chg="add del mod">
          <ac:chgData name="Priya Roy" userId="1bdec0f2-4fa1-4a37-8e18-33e8ca993fc1" providerId="ADAL" clId="{497CA709-868F-4F92-A616-552DA0217E09}" dt="2023-04-04T18:06:11.678" v="153" actId="478"/>
          <ac:spMkLst>
            <pc:docMk/>
            <pc:sldMk cId="4039488280" sldId="2147470853"/>
            <ac:spMk id="4" creationId="{62CCDC95-298C-411E-B0F7-209FC46C8220}"/>
          </ac:spMkLst>
        </pc:spChg>
        <pc:spChg chg="add del mod">
          <ac:chgData name="Priya Roy" userId="1bdec0f2-4fa1-4a37-8e18-33e8ca993fc1" providerId="ADAL" clId="{497CA709-868F-4F92-A616-552DA0217E09}" dt="2023-04-04T18:25:44.467" v="638" actId="2711"/>
          <ac:spMkLst>
            <pc:docMk/>
            <pc:sldMk cId="4039488280" sldId="2147470853"/>
            <ac:spMk id="5" creationId="{E88A299D-16C6-418B-88A5-9DB8E1FEAF0C}"/>
          </ac:spMkLst>
        </pc:spChg>
        <pc:spChg chg="add del">
          <ac:chgData name="Priya Roy" userId="1bdec0f2-4fa1-4a37-8e18-33e8ca993fc1" providerId="ADAL" clId="{497CA709-868F-4F92-A616-552DA0217E09}" dt="2023-04-04T17:57:59.719" v="141" actId="478"/>
          <ac:spMkLst>
            <pc:docMk/>
            <pc:sldMk cId="4039488280" sldId="2147470853"/>
            <ac:spMk id="6" creationId="{FF34902E-E4FF-454D-9F1D-442984B1500A}"/>
          </ac:spMkLst>
        </pc:spChg>
        <pc:spChg chg="add del">
          <ac:chgData name="Priya Roy" userId="1bdec0f2-4fa1-4a37-8e18-33e8ca993fc1" providerId="ADAL" clId="{497CA709-868F-4F92-A616-552DA0217E09}" dt="2023-04-04T17:58:02.083" v="142" actId="478"/>
          <ac:spMkLst>
            <pc:docMk/>
            <pc:sldMk cId="4039488280" sldId="2147470853"/>
            <ac:spMk id="7" creationId="{1AC71CAB-FECC-4542-A1FF-72CCBFBBCB8A}"/>
          </ac:spMkLst>
        </pc:spChg>
        <pc:spChg chg="add del mod">
          <ac:chgData name="Priya Roy" userId="1bdec0f2-4fa1-4a37-8e18-33e8ca993fc1" providerId="ADAL" clId="{497CA709-868F-4F92-A616-552DA0217E09}" dt="2023-04-04T18:05:56.905" v="149" actId="478"/>
          <ac:spMkLst>
            <pc:docMk/>
            <pc:sldMk cId="4039488280" sldId="2147470853"/>
            <ac:spMk id="9" creationId="{A9A8A4E3-BAB5-48B9-927C-011FD019E596}"/>
          </ac:spMkLst>
        </pc:spChg>
        <pc:spChg chg="add mod">
          <ac:chgData name="Priya Roy" userId="1bdec0f2-4fa1-4a37-8e18-33e8ca993fc1" providerId="ADAL" clId="{497CA709-868F-4F92-A616-552DA0217E09}" dt="2023-04-04T18:28:30.640" v="685" actId="1076"/>
          <ac:spMkLst>
            <pc:docMk/>
            <pc:sldMk cId="4039488280" sldId="2147470853"/>
            <ac:spMk id="10" creationId="{630268A6-9C6F-4374-85C6-B31BF949AD91}"/>
          </ac:spMkLst>
        </pc:spChg>
        <pc:spChg chg="add mod">
          <ac:chgData name="Priya Roy" userId="1bdec0f2-4fa1-4a37-8e18-33e8ca993fc1" providerId="ADAL" clId="{497CA709-868F-4F92-A616-552DA0217E09}" dt="2023-04-04T18:25:44.467" v="638" actId="2711"/>
          <ac:spMkLst>
            <pc:docMk/>
            <pc:sldMk cId="4039488280" sldId="2147470853"/>
            <ac:spMk id="11" creationId="{4492CE46-315F-4EA6-A281-4DDA9E2D7CDE}"/>
          </ac:spMkLst>
        </pc:spChg>
        <pc:spChg chg="add mod">
          <ac:chgData name="Priya Roy" userId="1bdec0f2-4fa1-4a37-8e18-33e8ca993fc1" providerId="ADAL" clId="{497CA709-868F-4F92-A616-552DA0217E09}" dt="2023-04-04T18:25:44.467" v="638" actId="2711"/>
          <ac:spMkLst>
            <pc:docMk/>
            <pc:sldMk cId="4039488280" sldId="2147470853"/>
            <ac:spMk id="13" creationId="{8F0C66AD-B975-4043-8975-597C61E49947}"/>
          </ac:spMkLst>
        </pc:spChg>
        <pc:spChg chg="add mod">
          <ac:chgData name="Priya Roy" userId="1bdec0f2-4fa1-4a37-8e18-33e8ca993fc1" providerId="ADAL" clId="{497CA709-868F-4F92-A616-552DA0217E09}" dt="2023-04-04T18:25:44.467" v="638" actId="2711"/>
          <ac:spMkLst>
            <pc:docMk/>
            <pc:sldMk cId="4039488280" sldId="2147470853"/>
            <ac:spMk id="14" creationId="{50C3EB28-DB20-494B-B64E-B2F084F5DDD8}"/>
          </ac:spMkLst>
        </pc:spChg>
        <pc:spChg chg="add mod">
          <ac:chgData name="Priya Roy" userId="1bdec0f2-4fa1-4a37-8e18-33e8ca993fc1" providerId="ADAL" clId="{497CA709-868F-4F92-A616-552DA0217E09}" dt="2023-04-04T18:25:44.467" v="638" actId="2711"/>
          <ac:spMkLst>
            <pc:docMk/>
            <pc:sldMk cId="4039488280" sldId="2147470853"/>
            <ac:spMk id="15" creationId="{E6DA544E-94CC-404A-971C-1828366A7F27}"/>
          </ac:spMkLst>
        </pc:spChg>
        <pc:spChg chg="add mod">
          <ac:chgData name="Priya Roy" userId="1bdec0f2-4fa1-4a37-8e18-33e8ca993fc1" providerId="ADAL" clId="{497CA709-868F-4F92-A616-552DA0217E09}" dt="2023-04-04T18:25:44.467" v="638" actId="2711"/>
          <ac:spMkLst>
            <pc:docMk/>
            <pc:sldMk cId="4039488280" sldId="2147470853"/>
            <ac:spMk id="16" creationId="{5519D271-16FE-4428-956F-988C9A15C91E}"/>
          </ac:spMkLst>
        </pc:spChg>
        <pc:spChg chg="add mod">
          <ac:chgData name="Priya Roy" userId="1bdec0f2-4fa1-4a37-8e18-33e8ca993fc1" providerId="ADAL" clId="{497CA709-868F-4F92-A616-552DA0217E09}" dt="2023-04-04T18:25:44.467" v="638" actId="2711"/>
          <ac:spMkLst>
            <pc:docMk/>
            <pc:sldMk cId="4039488280" sldId="2147470853"/>
            <ac:spMk id="17" creationId="{564F0315-9D17-4500-92B3-8B31487E8B06}"/>
          </ac:spMkLst>
        </pc:spChg>
        <pc:spChg chg="add mod">
          <ac:chgData name="Priya Roy" userId="1bdec0f2-4fa1-4a37-8e18-33e8ca993fc1" providerId="ADAL" clId="{497CA709-868F-4F92-A616-552DA0217E09}" dt="2023-04-04T18:25:44.467" v="638" actId="2711"/>
          <ac:spMkLst>
            <pc:docMk/>
            <pc:sldMk cId="4039488280" sldId="2147470853"/>
            <ac:spMk id="18" creationId="{517BC6DB-FFF7-4E9D-9DAD-798AB7131829}"/>
          </ac:spMkLst>
        </pc:spChg>
        <pc:spChg chg="add mod">
          <ac:chgData name="Priya Roy" userId="1bdec0f2-4fa1-4a37-8e18-33e8ca993fc1" providerId="ADAL" clId="{497CA709-868F-4F92-A616-552DA0217E09}" dt="2023-04-04T18:25:44.467" v="638" actId="2711"/>
          <ac:spMkLst>
            <pc:docMk/>
            <pc:sldMk cId="4039488280" sldId="2147470853"/>
            <ac:spMk id="19" creationId="{46892D49-071A-4CB3-A22D-65BF865ECCBF}"/>
          </ac:spMkLst>
        </pc:spChg>
        <pc:spChg chg="add mod">
          <ac:chgData name="Priya Roy" userId="1bdec0f2-4fa1-4a37-8e18-33e8ca993fc1" providerId="ADAL" clId="{497CA709-868F-4F92-A616-552DA0217E09}" dt="2023-04-04T18:25:44.467" v="638" actId="2711"/>
          <ac:spMkLst>
            <pc:docMk/>
            <pc:sldMk cId="4039488280" sldId="2147470853"/>
            <ac:spMk id="20" creationId="{AC08737F-9804-4B2D-9146-29A5B043A5E5}"/>
          </ac:spMkLst>
        </pc:spChg>
        <pc:spChg chg="add mod">
          <ac:chgData name="Priya Roy" userId="1bdec0f2-4fa1-4a37-8e18-33e8ca993fc1" providerId="ADAL" clId="{497CA709-868F-4F92-A616-552DA0217E09}" dt="2023-04-04T18:25:44.467" v="638" actId="2711"/>
          <ac:spMkLst>
            <pc:docMk/>
            <pc:sldMk cId="4039488280" sldId="2147470853"/>
            <ac:spMk id="21" creationId="{D43EFED7-C323-4AD1-B58C-E5FF3069557E}"/>
          </ac:spMkLst>
        </pc:spChg>
        <pc:spChg chg="add mod">
          <ac:chgData name="Priya Roy" userId="1bdec0f2-4fa1-4a37-8e18-33e8ca993fc1" providerId="ADAL" clId="{497CA709-868F-4F92-A616-552DA0217E09}" dt="2023-04-04T18:25:44.467" v="638" actId="2711"/>
          <ac:spMkLst>
            <pc:docMk/>
            <pc:sldMk cId="4039488280" sldId="2147470853"/>
            <ac:spMk id="22" creationId="{2FCC1E84-06C9-45AB-A39F-E7CBE236E215}"/>
          </ac:spMkLst>
        </pc:spChg>
        <pc:spChg chg="add mod">
          <ac:chgData name="Priya Roy" userId="1bdec0f2-4fa1-4a37-8e18-33e8ca993fc1" providerId="ADAL" clId="{497CA709-868F-4F92-A616-552DA0217E09}" dt="2023-04-04T18:25:44.467" v="638" actId="2711"/>
          <ac:spMkLst>
            <pc:docMk/>
            <pc:sldMk cId="4039488280" sldId="2147470853"/>
            <ac:spMk id="23" creationId="{7F8E42BD-87BB-40D5-99EE-92DEF215C795}"/>
          </ac:spMkLst>
        </pc:spChg>
        <pc:spChg chg="mod">
          <ac:chgData name="Priya Roy" userId="1bdec0f2-4fa1-4a37-8e18-33e8ca993fc1" providerId="ADAL" clId="{497CA709-868F-4F92-A616-552DA0217E09}" dt="2023-04-04T18:25:44.467" v="638" actId="2711"/>
          <ac:spMkLst>
            <pc:docMk/>
            <pc:sldMk cId="4039488280" sldId="2147470853"/>
            <ac:spMk id="25" creationId="{28C1D424-D429-4766-8C1C-E24F07C4815D}"/>
          </ac:spMkLst>
        </pc:spChg>
        <pc:spChg chg="mod">
          <ac:chgData name="Priya Roy" userId="1bdec0f2-4fa1-4a37-8e18-33e8ca993fc1" providerId="ADAL" clId="{497CA709-868F-4F92-A616-552DA0217E09}" dt="2023-04-04T18:25:44.467" v="638" actId="2711"/>
          <ac:spMkLst>
            <pc:docMk/>
            <pc:sldMk cId="4039488280" sldId="2147470853"/>
            <ac:spMk id="26" creationId="{F8A95E67-CA10-454B-AC7C-865FDCFC07BC}"/>
          </ac:spMkLst>
        </pc:spChg>
        <pc:spChg chg="mod">
          <ac:chgData name="Priya Roy" userId="1bdec0f2-4fa1-4a37-8e18-33e8ca993fc1" providerId="ADAL" clId="{497CA709-868F-4F92-A616-552DA0217E09}" dt="2023-04-04T18:25:44.467" v="638" actId="2711"/>
          <ac:spMkLst>
            <pc:docMk/>
            <pc:sldMk cId="4039488280" sldId="2147470853"/>
            <ac:spMk id="27" creationId="{6D588951-FC55-4AF1-AB05-3DAF507C23DB}"/>
          </ac:spMkLst>
        </pc:spChg>
        <pc:spChg chg="mod">
          <ac:chgData name="Priya Roy" userId="1bdec0f2-4fa1-4a37-8e18-33e8ca993fc1" providerId="ADAL" clId="{497CA709-868F-4F92-A616-552DA0217E09}" dt="2023-04-04T18:25:44.467" v="638" actId="2711"/>
          <ac:spMkLst>
            <pc:docMk/>
            <pc:sldMk cId="4039488280" sldId="2147470853"/>
            <ac:spMk id="28" creationId="{A83D78C7-6C21-46DC-BB29-2FD06A3DCC56}"/>
          </ac:spMkLst>
        </pc:spChg>
        <pc:spChg chg="mod">
          <ac:chgData name="Priya Roy" userId="1bdec0f2-4fa1-4a37-8e18-33e8ca993fc1" providerId="ADAL" clId="{497CA709-868F-4F92-A616-552DA0217E09}" dt="2023-04-04T18:25:44.467" v="638" actId="2711"/>
          <ac:spMkLst>
            <pc:docMk/>
            <pc:sldMk cId="4039488280" sldId="2147470853"/>
            <ac:spMk id="29" creationId="{91DB556C-EA6A-4323-BC1B-015BFBC3B93C}"/>
          </ac:spMkLst>
        </pc:spChg>
        <pc:spChg chg="add mod">
          <ac:chgData name="Priya Roy" userId="1bdec0f2-4fa1-4a37-8e18-33e8ca993fc1" providerId="ADAL" clId="{497CA709-868F-4F92-A616-552DA0217E09}" dt="2023-04-04T18:27:18.574" v="674" actId="20577"/>
          <ac:spMkLst>
            <pc:docMk/>
            <pc:sldMk cId="4039488280" sldId="2147470853"/>
            <ac:spMk id="30" creationId="{EB0B7E1F-A88F-4968-815E-77F23B84C96E}"/>
          </ac:spMkLst>
        </pc:spChg>
        <pc:spChg chg="add mod">
          <ac:chgData name="Priya Roy" userId="1bdec0f2-4fa1-4a37-8e18-33e8ca993fc1" providerId="ADAL" clId="{497CA709-868F-4F92-A616-552DA0217E09}" dt="2023-04-04T18:28:56.143" v="691" actId="1076"/>
          <ac:spMkLst>
            <pc:docMk/>
            <pc:sldMk cId="4039488280" sldId="2147470853"/>
            <ac:spMk id="31" creationId="{D4092AA2-B3A6-47C7-93EA-3A1230D0403C}"/>
          </ac:spMkLst>
        </pc:spChg>
        <pc:spChg chg="mod">
          <ac:chgData name="Priya Roy" userId="1bdec0f2-4fa1-4a37-8e18-33e8ca993fc1" providerId="ADAL" clId="{497CA709-868F-4F92-A616-552DA0217E09}" dt="2023-04-04T18:25:44.467" v="638" actId="2711"/>
          <ac:spMkLst>
            <pc:docMk/>
            <pc:sldMk cId="4039488280" sldId="2147470853"/>
            <ac:spMk id="34" creationId="{F3EF5A68-9C81-41E6-9469-CE0ADF57E30A}"/>
          </ac:spMkLst>
        </pc:spChg>
        <pc:spChg chg="mod">
          <ac:chgData name="Priya Roy" userId="1bdec0f2-4fa1-4a37-8e18-33e8ca993fc1" providerId="ADAL" clId="{497CA709-868F-4F92-A616-552DA0217E09}" dt="2023-04-04T18:26:14.293" v="648" actId="20577"/>
          <ac:spMkLst>
            <pc:docMk/>
            <pc:sldMk cId="4039488280" sldId="2147470853"/>
            <ac:spMk id="35" creationId="{34A1EB80-4F17-4660-B3D6-E285993E21BB}"/>
          </ac:spMkLst>
        </pc:spChg>
        <pc:spChg chg="add del mod">
          <ac:chgData name="Priya Roy" userId="1bdec0f2-4fa1-4a37-8e18-33e8ca993fc1" providerId="ADAL" clId="{497CA709-868F-4F92-A616-552DA0217E09}" dt="2023-04-04T18:30:52.939" v="715" actId="478"/>
          <ac:spMkLst>
            <pc:docMk/>
            <pc:sldMk cId="4039488280" sldId="2147470853"/>
            <ac:spMk id="36" creationId="{796E20CB-BD6A-4ABE-8DD5-3D25FDD77182}"/>
          </ac:spMkLst>
        </pc:spChg>
        <pc:spChg chg="mod">
          <ac:chgData name="Priya Roy" userId="1bdec0f2-4fa1-4a37-8e18-33e8ca993fc1" providerId="ADAL" clId="{497CA709-868F-4F92-A616-552DA0217E09}" dt="2023-04-04T18:25:44.467" v="638" actId="2711"/>
          <ac:spMkLst>
            <pc:docMk/>
            <pc:sldMk cId="4039488280" sldId="2147470853"/>
            <ac:spMk id="37" creationId="{07A670AE-5297-46BC-9A5E-73B4708C72E0}"/>
          </ac:spMkLst>
        </pc:spChg>
        <pc:spChg chg="mod">
          <ac:chgData name="Priya Roy" userId="1bdec0f2-4fa1-4a37-8e18-33e8ca993fc1" providerId="ADAL" clId="{497CA709-868F-4F92-A616-552DA0217E09}" dt="2023-04-04T18:26:21.974" v="652" actId="20577"/>
          <ac:spMkLst>
            <pc:docMk/>
            <pc:sldMk cId="4039488280" sldId="2147470853"/>
            <ac:spMk id="38" creationId="{7E0DA477-6773-483C-BCC6-E2AB66841713}"/>
          </ac:spMkLst>
        </pc:spChg>
        <pc:spChg chg="mod">
          <ac:chgData name="Priya Roy" userId="1bdec0f2-4fa1-4a37-8e18-33e8ca993fc1" providerId="ADAL" clId="{497CA709-868F-4F92-A616-552DA0217E09}" dt="2023-04-04T18:19:56.086" v="426" actId="18245"/>
          <ac:spMkLst>
            <pc:docMk/>
            <pc:sldMk cId="4039488280" sldId="2147470853"/>
            <ac:spMk id="39" creationId="{7696B493-6B8C-4EAE-B1A8-B1C5A7175B05}"/>
          </ac:spMkLst>
        </pc:spChg>
        <pc:spChg chg="mod">
          <ac:chgData name="Priya Roy" userId="1bdec0f2-4fa1-4a37-8e18-33e8ca993fc1" providerId="ADAL" clId="{497CA709-868F-4F92-A616-552DA0217E09}" dt="2023-04-04T18:25:44.467" v="638" actId="2711"/>
          <ac:spMkLst>
            <pc:docMk/>
            <pc:sldMk cId="4039488280" sldId="2147470853"/>
            <ac:spMk id="40" creationId="{9ED0934D-47F5-452F-96CC-047008DE6960}"/>
          </ac:spMkLst>
        </pc:spChg>
        <pc:spChg chg="mod">
          <ac:chgData name="Priya Roy" userId="1bdec0f2-4fa1-4a37-8e18-33e8ca993fc1" providerId="ADAL" clId="{497CA709-868F-4F92-A616-552DA0217E09}" dt="2023-04-04T18:26:29.537" v="656" actId="20577"/>
          <ac:spMkLst>
            <pc:docMk/>
            <pc:sldMk cId="4039488280" sldId="2147470853"/>
            <ac:spMk id="41" creationId="{46AE0276-A164-41AE-845A-7139DEDA1A7C}"/>
          </ac:spMkLst>
        </pc:spChg>
        <pc:spChg chg="mod">
          <ac:chgData name="Priya Roy" userId="1bdec0f2-4fa1-4a37-8e18-33e8ca993fc1" providerId="ADAL" clId="{497CA709-868F-4F92-A616-552DA0217E09}" dt="2023-04-04T18:19:56.086" v="426" actId="18245"/>
          <ac:spMkLst>
            <pc:docMk/>
            <pc:sldMk cId="4039488280" sldId="2147470853"/>
            <ac:spMk id="42" creationId="{7DB1C460-C2FE-446A-BD05-1565592879E4}"/>
          </ac:spMkLst>
        </pc:spChg>
        <pc:spChg chg="add mod">
          <ac:chgData name="Priya Roy" userId="1bdec0f2-4fa1-4a37-8e18-33e8ca993fc1" providerId="ADAL" clId="{497CA709-868F-4F92-A616-552DA0217E09}" dt="2023-04-04T18:25:44.467" v="638" actId="2711"/>
          <ac:spMkLst>
            <pc:docMk/>
            <pc:sldMk cId="4039488280" sldId="2147470853"/>
            <ac:spMk id="43" creationId="{49FEFDD0-7206-4C1D-B7E3-CC87B66AF6E8}"/>
          </ac:spMkLst>
        </pc:spChg>
        <pc:spChg chg="add mod">
          <ac:chgData name="Priya Roy" userId="1bdec0f2-4fa1-4a37-8e18-33e8ca993fc1" providerId="ADAL" clId="{497CA709-868F-4F92-A616-552DA0217E09}" dt="2023-04-04T18:25:44.467" v="638" actId="2711"/>
          <ac:spMkLst>
            <pc:docMk/>
            <pc:sldMk cId="4039488280" sldId="2147470853"/>
            <ac:spMk id="44" creationId="{6DA824C6-E741-4A86-8BD5-AAC9F36B21C9}"/>
          </ac:spMkLst>
        </pc:spChg>
        <pc:spChg chg="add mod">
          <ac:chgData name="Priya Roy" userId="1bdec0f2-4fa1-4a37-8e18-33e8ca993fc1" providerId="ADAL" clId="{497CA709-868F-4F92-A616-552DA0217E09}" dt="2023-04-04T18:25:44.467" v="638" actId="2711"/>
          <ac:spMkLst>
            <pc:docMk/>
            <pc:sldMk cId="4039488280" sldId="2147470853"/>
            <ac:spMk id="45" creationId="{280297C1-208F-48E4-9F4B-E04340AF14FF}"/>
          </ac:spMkLst>
        </pc:spChg>
        <pc:spChg chg="mod">
          <ac:chgData name="Priya Roy" userId="1bdec0f2-4fa1-4a37-8e18-33e8ca993fc1" providerId="ADAL" clId="{497CA709-868F-4F92-A616-552DA0217E09}" dt="2023-04-04T18:28:36.928" v="686" actId="1076"/>
          <ac:spMkLst>
            <pc:docMk/>
            <pc:sldMk cId="4039488280" sldId="2147470853"/>
            <ac:spMk id="47" creationId="{E96CC064-CEC0-4E13-B8EA-36C82306EB3B}"/>
          </ac:spMkLst>
        </pc:spChg>
        <pc:spChg chg="mod">
          <ac:chgData name="Priya Roy" userId="1bdec0f2-4fa1-4a37-8e18-33e8ca993fc1" providerId="ADAL" clId="{497CA709-868F-4F92-A616-552DA0217E09}" dt="2023-04-04T18:28:36.928" v="686" actId="1076"/>
          <ac:spMkLst>
            <pc:docMk/>
            <pc:sldMk cId="4039488280" sldId="2147470853"/>
            <ac:spMk id="48" creationId="{81AE5FC1-BA42-4176-A144-7F237675C7EE}"/>
          </ac:spMkLst>
        </pc:spChg>
        <pc:spChg chg="mod">
          <ac:chgData name="Priya Roy" userId="1bdec0f2-4fa1-4a37-8e18-33e8ca993fc1" providerId="ADAL" clId="{497CA709-868F-4F92-A616-552DA0217E09}" dt="2023-04-04T18:28:36.928" v="686" actId="1076"/>
          <ac:spMkLst>
            <pc:docMk/>
            <pc:sldMk cId="4039488280" sldId="2147470853"/>
            <ac:spMk id="49" creationId="{72942EC2-38AC-40AA-BE7F-B3EA4DDCBC2B}"/>
          </ac:spMkLst>
        </pc:spChg>
        <pc:spChg chg="mod">
          <ac:chgData name="Priya Roy" userId="1bdec0f2-4fa1-4a37-8e18-33e8ca993fc1" providerId="ADAL" clId="{497CA709-868F-4F92-A616-552DA0217E09}" dt="2023-04-04T18:28:36.928" v="686" actId="1076"/>
          <ac:spMkLst>
            <pc:docMk/>
            <pc:sldMk cId="4039488280" sldId="2147470853"/>
            <ac:spMk id="50" creationId="{D8F1BE3D-4239-4118-B4D5-B3F525E58173}"/>
          </ac:spMkLst>
        </pc:spChg>
        <pc:spChg chg="mod">
          <ac:chgData name="Priya Roy" userId="1bdec0f2-4fa1-4a37-8e18-33e8ca993fc1" providerId="ADAL" clId="{497CA709-868F-4F92-A616-552DA0217E09}" dt="2023-04-04T18:28:36.928" v="686" actId="1076"/>
          <ac:spMkLst>
            <pc:docMk/>
            <pc:sldMk cId="4039488280" sldId="2147470853"/>
            <ac:spMk id="51" creationId="{27D0EBFD-2FC3-4EC4-A4CF-6A2B856B5AE7}"/>
          </ac:spMkLst>
        </pc:spChg>
        <pc:spChg chg="mod">
          <ac:chgData name="Priya Roy" userId="1bdec0f2-4fa1-4a37-8e18-33e8ca993fc1" providerId="ADAL" clId="{497CA709-868F-4F92-A616-552DA0217E09}" dt="2023-04-04T18:28:36.928" v="686" actId="1076"/>
          <ac:spMkLst>
            <pc:docMk/>
            <pc:sldMk cId="4039488280" sldId="2147470853"/>
            <ac:spMk id="52" creationId="{7C85085B-EDE8-41FC-8687-BFA42F385351}"/>
          </ac:spMkLst>
        </pc:spChg>
        <pc:spChg chg="mod">
          <ac:chgData name="Priya Roy" userId="1bdec0f2-4fa1-4a37-8e18-33e8ca993fc1" providerId="ADAL" clId="{497CA709-868F-4F92-A616-552DA0217E09}" dt="2023-04-04T18:28:36.928" v="686" actId="1076"/>
          <ac:spMkLst>
            <pc:docMk/>
            <pc:sldMk cId="4039488280" sldId="2147470853"/>
            <ac:spMk id="53" creationId="{5763FD8F-B962-4A06-AB75-20FF104DC7B2}"/>
          </ac:spMkLst>
        </pc:spChg>
        <pc:spChg chg="mod">
          <ac:chgData name="Priya Roy" userId="1bdec0f2-4fa1-4a37-8e18-33e8ca993fc1" providerId="ADAL" clId="{497CA709-868F-4F92-A616-552DA0217E09}" dt="2023-04-04T18:28:36.928" v="686" actId="1076"/>
          <ac:spMkLst>
            <pc:docMk/>
            <pc:sldMk cId="4039488280" sldId="2147470853"/>
            <ac:spMk id="54" creationId="{CD16B18A-709C-469C-8F8C-54DFBA6E7B1E}"/>
          </ac:spMkLst>
        </pc:spChg>
        <pc:spChg chg="mod">
          <ac:chgData name="Priya Roy" userId="1bdec0f2-4fa1-4a37-8e18-33e8ca993fc1" providerId="ADAL" clId="{497CA709-868F-4F92-A616-552DA0217E09}" dt="2023-04-04T18:28:36.928" v="686" actId="1076"/>
          <ac:spMkLst>
            <pc:docMk/>
            <pc:sldMk cId="4039488280" sldId="2147470853"/>
            <ac:spMk id="55" creationId="{FA74B786-5E38-4E27-B8A6-182065F24F33}"/>
          </ac:spMkLst>
        </pc:spChg>
        <pc:spChg chg="mod">
          <ac:chgData name="Priya Roy" userId="1bdec0f2-4fa1-4a37-8e18-33e8ca993fc1" providerId="ADAL" clId="{497CA709-868F-4F92-A616-552DA0217E09}" dt="2023-04-04T18:28:36.928" v="686" actId="1076"/>
          <ac:spMkLst>
            <pc:docMk/>
            <pc:sldMk cId="4039488280" sldId="2147470853"/>
            <ac:spMk id="56" creationId="{F284454E-C2F7-432A-9AAE-F119A0680B6B}"/>
          </ac:spMkLst>
        </pc:spChg>
        <pc:spChg chg="mod">
          <ac:chgData name="Priya Roy" userId="1bdec0f2-4fa1-4a37-8e18-33e8ca993fc1" providerId="ADAL" clId="{497CA709-868F-4F92-A616-552DA0217E09}" dt="2023-04-04T18:28:36.928" v="686" actId="1076"/>
          <ac:spMkLst>
            <pc:docMk/>
            <pc:sldMk cId="4039488280" sldId="2147470853"/>
            <ac:spMk id="57" creationId="{49EB353F-EC63-4A52-A65A-E336342006C6}"/>
          </ac:spMkLst>
        </pc:spChg>
        <pc:spChg chg="mod">
          <ac:chgData name="Priya Roy" userId="1bdec0f2-4fa1-4a37-8e18-33e8ca993fc1" providerId="ADAL" clId="{497CA709-868F-4F92-A616-552DA0217E09}" dt="2023-04-04T18:28:36.928" v="686" actId="1076"/>
          <ac:spMkLst>
            <pc:docMk/>
            <pc:sldMk cId="4039488280" sldId="2147470853"/>
            <ac:spMk id="58" creationId="{CECCE7DF-BB79-4C1C-831A-28F68688CA47}"/>
          </ac:spMkLst>
        </pc:spChg>
        <pc:spChg chg="mod">
          <ac:chgData name="Priya Roy" userId="1bdec0f2-4fa1-4a37-8e18-33e8ca993fc1" providerId="ADAL" clId="{497CA709-868F-4F92-A616-552DA0217E09}" dt="2023-04-04T18:28:36.928" v="686" actId="1076"/>
          <ac:spMkLst>
            <pc:docMk/>
            <pc:sldMk cId="4039488280" sldId="2147470853"/>
            <ac:spMk id="59" creationId="{8835B6F0-A36E-4A3D-8C3E-D9112021767A}"/>
          </ac:spMkLst>
        </pc:spChg>
        <pc:spChg chg="mod">
          <ac:chgData name="Priya Roy" userId="1bdec0f2-4fa1-4a37-8e18-33e8ca993fc1" providerId="ADAL" clId="{497CA709-868F-4F92-A616-552DA0217E09}" dt="2023-04-04T18:28:36.928" v="686" actId="1076"/>
          <ac:spMkLst>
            <pc:docMk/>
            <pc:sldMk cId="4039488280" sldId="2147470853"/>
            <ac:spMk id="60" creationId="{59DE2063-861C-4969-B75A-454BBED97F5A}"/>
          </ac:spMkLst>
        </pc:spChg>
        <pc:spChg chg="mod">
          <ac:chgData name="Priya Roy" userId="1bdec0f2-4fa1-4a37-8e18-33e8ca993fc1" providerId="ADAL" clId="{497CA709-868F-4F92-A616-552DA0217E09}" dt="2023-04-04T18:28:36.928" v="686" actId="1076"/>
          <ac:spMkLst>
            <pc:docMk/>
            <pc:sldMk cId="4039488280" sldId="2147470853"/>
            <ac:spMk id="61" creationId="{75013039-9ABF-436C-9373-10FF210F998C}"/>
          </ac:spMkLst>
        </pc:spChg>
        <pc:spChg chg="mod">
          <ac:chgData name="Priya Roy" userId="1bdec0f2-4fa1-4a37-8e18-33e8ca993fc1" providerId="ADAL" clId="{497CA709-868F-4F92-A616-552DA0217E09}" dt="2023-04-04T18:28:36.928" v="686" actId="1076"/>
          <ac:spMkLst>
            <pc:docMk/>
            <pc:sldMk cId="4039488280" sldId="2147470853"/>
            <ac:spMk id="62" creationId="{B4A165A2-F311-472D-9762-C3E601C3BC23}"/>
          </ac:spMkLst>
        </pc:spChg>
        <pc:spChg chg="mod">
          <ac:chgData name="Priya Roy" userId="1bdec0f2-4fa1-4a37-8e18-33e8ca993fc1" providerId="ADAL" clId="{497CA709-868F-4F92-A616-552DA0217E09}" dt="2023-04-04T18:28:36.928" v="686" actId="1076"/>
          <ac:spMkLst>
            <pc:docMk/>
            <pc:sldMk cId="4039488280" sldId="2147470853"/>
            <ac:spMk id="63" creationId="{7BF54887-482D-4E58-BFE3-8D187D0E1A88}"/>
          </ac:spMkLst>
        </pc:spChg>
        <pc:spChg chg="mod">
          <ac:chgData name="Priya Roy" userId="1bdec0f2-4fa1-4a37-8e18-33e8ca993fc1" providerId="ADAL" clId="{497CA709-868F-4F92-A616-552DA0217E09}" dt="2023-04-04T18:28:36.928" v="686" actId="1076"/>
          <ac:spMkLst>
            <pc:docMk/>
            <pc:sldMk cId="4039488280" sldId="2147470853"/>
            <ac:spMk id="64" creationId="{75E827D4-0F74-48DD-96FF-D3BC5D11CA73}"/>
          </ac:spMkLst>
        </pc:spChg>
        <pc:spChg chg="mod">
          <ac:chgData name="Priya Roy" userId="1bdec0f2-4fa1-4a37-8e18-33e8ca993fc1" providerId="ADAL" clId="{497CA709-868F-4F92-A616-552DA0217E09}" dt="2023-04-04T18:29:36.086" v="702" actId="1076"/>
          <ac:spMkLst>
            <pc:docMk/>
            <pc:sldMk cId="4039488280" sldId="2147470853"/>
            <ac:spMk id="66" creationId="{643972BF-3181-4FEE-9271-04E34A81D771}"/>
          </ac:spMkLst>
        </pc:spChg>
        <pc:spChg chg="mod">
          <ac:chgData name="Priya Roy" userId="1bdec0f2-4fa1-4a37-8e18-33e8ca993fc1" providerId="ADAL" clId="{497CA709-868F-4F92-A616-552DA0217E09}" dt="2023-04-04T18:29:36.086" v="702" actId="1076"/>
          <ac:spMkLst>
            <pc:docMk/>
            <pc:sldMk cId="4039488280" sldId="2147470853"/>
            <ac:spMk id="67" creationId="{83B42138-4403-4CFA-9F90-2C6D6CF78CC5}"/>
          </ac:spMkLst>
        </pc:spChg>
        <pc:spChg chg="mod">
          <ac:chgData name="Priya Roy" userId="1bdec0f2-4fa1-4a37-8e18-33e8ca993fc1" providerId="ADAL" clId="{497CA709-868F-4F92-A616-552DA0217E09}" dt="2023-04-04T18:29:36.086" v="702" actId="1076"/>
          <ac:spMkLst>
            <pc:docMk/>
            <pc:sldMk cId="4039488280" sldId="2147470853"/>
            <ac:spMk id="68" creationId="{F89DB542-DF10-4A8D-AA31-C40C35F71FA3}"/>
          </ac:spMkLst>
        </pc:spChg>
        <pc:spChg chg="mod">
          <ac:chgData name="Priya Roy" userId="1bdec0f2-4fa1-4a37-8e18-33e8ca993fc1" providerId="ADAL" clId="{497CA709-868F-4F92-A616-552DA0217E09}" dt="2023-04-04T18:29:36.086" v="702" actId="1076"/>
          <ac:spMkLst>
            <pc:docMk/>
            <pc:sldMk cId="4039488280" sldId="2147470853"/>
            <ac:spMk id="69" creationId="{D21F6B6B-D1D6-41CD-B563-9B4F927641C3}"/>
          </ac:spMkLst>
        </pc:spChg>
        <pc:spChg chg="mod">
          <ac:chgData name="Priya Roy" userId="1bdec0f2-4fa1-4a37-8e18-33e8ca993fc1" providerId="ADAL" clId="{497CA709-868F-4F92-A616-552DA0217E09}" dt="2023-04-04T18:29:36.086" v="702" actId="1076"/>
          <ac:spMkLst>
            <pc:docMk/>
            <pc:sldMk cId="4039488280" sldId="2147470853"/>
            <ac:spMk id="70" creationId="{4A72AF61-B84E-4E05-A9AE-48260C586E9B}"/>
          </ac:spMkLst>
        </pc:spChg>
        <pc:spChg chg="mod">
          <ac:chgData name="Priya Roy" userId="1bdec0f2-4fa1-4a37-8e18-33e8ca993fc1" providerId="ADAL" clId="{497CA709-868F-4F92-A616-552DA0217E09}" dt="2023-04-04T18:29:36.086" v="702" actId="1076"/>
          <ac:spMkLst>
            <pc:docMk/>
            <pc:sldMk cId="4039488280" sldId="2147470853"/>
            <ac:spMk id="71" creationId="{654A24EB-0C36-4548-8DC1-A806B54F84E5}"/>
          </ac:spMkLst>
        </pc:spChg>
        <pc:spChg chg="mod">
          <ac:chgData name="Priya Roy" userId="1bdec0f2-4fa1-4a37-8e18-33e8ca993fc1" providerId="ADAL" clId="{497CA709-868F-4F92-A616-552DA0217E09}" dt="2023-04-04T18:29:36.086" v="702" actId="1076"/>
          <ac:spMkLst>
            <pc:docMk/>
            <pc:sldMk cId="4039488280" sldId="2147470853"/>
            <ac:spMk id="72" creationId="{31E38DFA-A564-4B90-86DA-C2126979590B}"/>
          </ac:spMkLst>
        </pc:spChg>
        <pc:spChg chg="mod">
          <ac:chgData name="Priya Roy" userId="1bdec0f2-4fa1-4a37-8e18-33e8ca993fc1" providerId="ADAL" clId="{497CA709-868F-4F92-A616-552DA0217E09}" dt="2023-04-04T18:29:36.086" v="702" actId="1076"/>
          <ac:spMkLst>
            <pc:docMk/>
            <pc:sldMk cId="4039488280" sldId="2147470853"/>
            <ac:spMk id="73" creationId="{B247A766-634F-4D07-8F50-6FB3C1970020}"/>
          </ac:spMkLst>
        </pc:spChg>
        <pc:spChg chg="mod">
          <ac:chgData name="Priya Roy" userId="1bdec0f2-4fa1-4a37-8e18-33e8ca993fc1" providerId="ADAL" clId="{497CA709-868F-4F92-A616-552DA0217E09}" dt="2023-04-04T18:29:36.086" v="702" actId="1076"/>
          <ac:spMkLst>
            <pc:docMk/>
            <pc:sldMk cId="4039488280" sldId="2147470853"/>
            <ac:spMk id="74" creationId="{1180E93A-9C01-49DF-8022-63DF18351B39}"/>
          </ac:spMkLst>
        </pc:spChg>
        <pc:spChg chg="mod">
          <ac:chgData name="Priya Roy" userId="1bdec0f2-4fa1-4a37-8e18-33e8ca993fc1" providerId="ADAL" clId="{497CA709-868F-4F92-A616-552DA0217E09}" dt="2023-04-04T18:29:36.086" v="702" actId="1076"/>
          <ac:spMkLst>
            <pc:docMk/>
            <pc:sldMk cId="4039488280" sldId="2147470853"/>
            <ac:spMk id="75" creationId="{DCA8F12B-FF4A-4D9E-910B-958187EE2BB7}"/>
          </ac:spMkLst>
        </pc:spChg>
        <pc:spChg chg="mod">
          <ac:chgData name="Priya Roy" userId="1bdec0f2-4fa1-4a37-8e18-33e8ca993fc1" providerId="ADAL" clId="{497CA709-868F-4F92-A616-552DA0217E09}" dt="2023-04-04T18:29:36.086" v="702" actId="1076"/>
          <ac:spMkLst>
            <pc:docMk/>
            <pc:sldMk cId="4039488280" sldId="2147470853"/>
            <ac:spMk id="76" creationId="{17D9FD96-1138-4010-A2F0-797AB51A166C}"/>
          </ac:spMkLst>
        </pc:spChg>
        <pc:spChg chg="mod">
          <ac:chgData name="Priya Roy" userId="1bdec0f2-4fa1-4a37-8e18-33e8ca993fc1" providerId="ADAL" clId="{497CA709-868F-4F92-A616-552DA0217E09}" dt="2023-04-04T18:29:36.086" v="702" actId="1076"/>
          <ac:spMkLst>
            <pc:docMk/>
            <pc:sldMk cId="4039488280" sldId="2147470853"/>
            <ac:spMk id="77" creationId="{AB3C2C1D-19B7-485B-BFAE-B06DC34865AA}"/>
          </ac:spMkLst>
        </pc:spChg>
        <pc:spChg chg="mod">
          <ac:chgData name="Priya Roy" userId="1bdec0f2-4fa1-4a37-8e18-33e8ca993fc1" providerId="ADAL" clId="{497CA709-868F-4F92-A616-552DA0217E09}" dt="2023-04-04T18:29:36.086" v="702" actId="1076"/>
          <ac:spMkLst>
            <pc:docMk/>
            <pc:sldMk cId="4039488280" sldId="2147470853"/>
            <ac:spMk id="78" creationId="{A48408B6-DC53-46D5-AACC-D72A5B5C8BBC}"/>
          </ac:spMkLst>
        </pc:spChg>
        <pc:spChg chg="mod">
          <ac:chgData name="Priya Roy" userId="1bdec0f2-4fa1-4a37-8e18-33e8ca993fc1" providerId="ADAL" clId="{497CA709-868F-4F92-A616-552DA0217E09}" dt="2023-04-04T18:29:36.086" v="702" actId="1076"/>
          <ac:spMkLst>
            <pc:docMk/>
            <pc:sldMk cId="4039488280" sldId="2147470853"/>
            <ac:spMk id="79" creationId="{E93B9ACD-9338-4BD2-85B7-703E1EA61652}"/>
          </ac:spMkLst>
        </pc:spChg>
        <pc:spChg chg="mod">
          <ac:chgData name="Priya Roy" userId="1bdec0f2-4fa1-4a37-8e18-33e8ca993fc1" providerId="ADAL" clId="{497CA709-868F-4F92-A616-552DA0217E09}" dt="2023-04-04T18:29:36.086" v="702" actId="1076"/>
          <ac:spMkLst>
            <pc:docMk/>
            <pc:sldMk cId="4039488280" sldId="2147470853"/>
            <ac:spMk id="80" creationId="{E38DB077-9901-41F0-A3F2-020D131995C7}"/>
          </ac:spMkLst>
        </pc:spChg>
        <pc:spChg chg="mod">
          <ac:chgData name="Priya Roy" userId="1bdec0f2-4fa1-4a37-8e18-33e8ca993fc1" providerId="ADAL" clId="{497CA709-868F-4F92-A616-552DA0217E09}" dt="2023-04-04T18:29:26.598" v="701" actId="1076"/>
          <ac:spMkLst>
            <pc:docMk/>
            <pc:sldMk cId="4039488280" sldId="2147470853"/>
            <ac:spMk id="82" creationId="{90653E7F-26A9-4F2E-A296-EBF33B95A83F}"/>
          </ac:spMkLst>
        </pc:spChg>
        <pc:spChg chg="mod">
          <ac:chgData name="Priya Roy" userId="1bdec0f2-4fa1-4a37-8e18-33e8ca993fc1" providerId="ADAL" clId="{497CA709-868F-4F92-A616-552DA0217E09}" dt="2023-04-04T18:29:26.598" v="701" actId="1076"/>
          <ac:spMkLst>
            <pc:docMk/>
            <pc:sldMk cId="4039488280" sldId="2147470853"/>
            <ac:spMk id="83" creationId="{09C45201-3857-4157-BE90-9F9BF7EA1ACD}"/>
          </ac:spMkLst>
        </pc:spChg>
        <pc:spChg chg="mod">
          <ac:chgData name="Priya Roy" userId="1bdec0f2-4fa1-4a37-8e18-33e8ca993fc1" providerId="ADAL" clId="{497CA709-868F-4F92-A616-552DA0217E09}" dt="2023-04-04T18:29:26.598" v="701" actId="1076"/>
          <ac:spMkLst>
            <pc:docMk/>
            <pc:sldMk cId="4039488280" sldId="2147470853"/>
            <ac:spMk id="84" creationId="{F17B9941-0980-4889-8171-37B2E930BEA5}"/>
          </ac:spMkLst>
        </pc:spChg>
        <pc:spChg chg="mod">
          <ac:chgData name="Priya Roy" userId="1bdec0f2-4fa1-4a37-8e18-33e8ca993fc1" providerId="ADAL" clId="{497CA709-868F-4F92-A616-552DA0217E09}" dt="2023-04-04T18:29:26.598" v="701" actId="1076"/>
          <ac:spMkLst>
            <pc:docMk/>
            <pc:sldMk cId="4039488280" sldId="2147470853"/>
            <ac:spMk id="85" creationId="{E1E7FE62-0912-4C48-8787-AF7625FCBC9F}"/>
          </ac:spMkLst>
        </pc:spChg>
        <pc:spChg chg="mod">
          <ac:chgData name="Priya Roy" userId="1bdec0f2-4fa1-4a37-8e18-33e8ca993fc1" providerId="ADAL" clId="{497CA709-868F-4F92-A616-552DA0217E09}" dt="2023-04-04T18:29:26.598" v="701" actId="1076"/>
          <ac:spMkLst>
            <pc:docMk/>
            <pc:sldMk cId="4039488280" sldId="2147470853"/>
            <ac:spMk id="86" creationId="{929DC1B5-3F08-452C-90F4-7BCB225C7555}"/>
          </ac:spMkLst>
        </pc:spChg>
        <pc:spChg chg="mod">
          <ac:chgData name="Priya Roy" userId="1bdec0f2-4fa1-4a37-8e18-33e8ca993fc1" providerId="ADAL" clId="{497CA709-868F-4F92-A616-552DA0217E09}" dt="2023-04-04T18:29:26.598" v="701" actId="1076"/>
          <ac:spMkLst>
            <pc:docMk/>
            <pc:sldMk cId="4039488280" sldId="2147470853"/>
            <ac:spMk id="87" creationId="{F209CA38-B859-4137-9331-AF0942522056}"/>
          </ac:spMkLst>
        </pc:spChg>
        <pc:spChg chg="mod">
          <ac:chgData name="Priya Roy" userId="1bdec0f2-4fa1-4a37-8e18-33e8ca993fc1" providerId="ADAL" clId="{497CA709-868F-4F92-A616-552DA0217E09}" dt="2023-04-04T18:29:26.598" v="701" actId="1076"/>
          <ac:spMkLst>
            <pc:docMk/>
            <pc:sldMk cId="4039488280" sldId="2147470853"/>
            <ac:spMk id="88" creationId="{86E29A93-DBBA-4A6A-81FE-3370F406D42C}"/>
          </ac:spMkLst>
        </pc:spChg>
        <pc:spChg chg="mod">
          <ac:chgData name="Priya Roy" userId="1bdec0f2-4fa1-4a37-8e18-33e8ca993fc1" providerId="ADAL" clId="{497CA709-868F-4F92-A616-552DA0217E09}" dt="2023-04-04T18:29:26.598" v="701" actId="1076"/>
          <ac:spMkLst>
            <pc:docMk/>
            <pc:sldMk cId="4039488280" sldId="2147470853"/>
            <ac:spMk id="89" creationId="{9D0BC4CD-A37B-4FC5-B0E5-D8DBE09CD927}"/>
          </ac:spMkLst>
        </pc:spChg>
        <pc:spChg chg="mod">
          <ac:chgData name="Priya Roy" userId="1bdec0f2-4fa1-4a37-8e18-33e8ca993fc1" providerId="ADAL" clId="{497CA709-868F-4F92-A616-552DA0217E09}" dt="2023-04-04T18:29:26.598" v="701" actId="1076"/>
          <ac:spMkLst>
            <pc:docMk/>
            <pc:sldMk cId="4039488280" sldId="2147470853"/>
            <ac:spMk id="90" creationId="{5BFD9519-BB58-4FC3-8EFD-40AE180040FF}"/>
          </ac:spMkLst>
        </pc:spChg>
        <pc:spChg chg="mod">
          <ac:chgData name="Priya Roy" userId="1bdec0f2-4fa1-4a37-8e18-33e8ca993fc1" providerId="ADAL" clId="{497CA709-868F-4F92-A616-552DA0217E09}" dt="2023-04-04T18:29:26.598" v="701" actId="1076"/>
          <ac:spMkLst>
            <pc:docMk/>
            <pc:sldMk cId="4039488280" sldId="2147470853"/>
            <ac:spMk id="91" creationId="{8C7388EA-024C-4E03-8CF8-2C6CDD1E929A}"/>
          </ac:spMkLst>
        </pc:spChg>
        <pc:spChg chg="mod">
          <ac:chgData name="Priya Roy" userId="1bdec0f2-4fa1-4a37-8e18-33e8ca993fc1" providerId="ADAL" clId="{497CA709-868F-4F92-A616-552DA0217E09}" dt="2023-04-04T18:29:26.598" v="701" actId="1076"/>
          <ac:spMkLst>
            <pc:docMk/>
            <pc:sldMk cId="4039488280" sldId="2147470853"/>
            <ac:spMk id="92" creationId="{6B0E1539-1704-4A8F-BFA1-AC404EB43FDE}"/>
          </ac:spMkLst>
        </pc:spChg>
        <pc:spChg chg="mod">
          <ac:chgData name="Priya Roy" userId="1bdec0f2-4fa1-4a37-8e18-33e8ca993fc1" providerId="ADAL" clId="{497CA709-868F-4F92-A616-552DA0217E09}" dt="2023-04-04T18:29:26.598" v="701" actId="1076"/>
          <ac:spMkLst>
            <pc:docMk/>
            <pc:sldMk cId="4039488280" sldId="2147470853"/>
            <ac:spMk id="93" creationId="{B0355199-7F69-4BE0-85CB-5BCF68A08491}"/>
          </ac:spMkLst>
        </pc:spChg>
        <pc:spChg chg="mod">
          <ac:chgData name="Priya Roy" userId="1bdec0f2-4fa1-4a37-8e18-33e8ca993fc1" providerId="ADAL" clId="{497CA709-868F-4F92-A616-552DA0217E09}" dt="2023-04-04T18:29:26.598" v="701" actId="1076"/>
          <ac:spMkLst>
            <pc:docMk/>
            <pc:sldMk cId="4039488280" sldId="2147470853"/>
            <ac:spMk id="94" creationId="{30DD5DC7-BE7E-45FB-91A4-33AF370914D7}"/>
          </ac:spMkLst>
        </pc:spChg>
        <pc:spChg chg="mod">
          <ac:chgData name="Priya Roy" userId="1bdec0f2-4fa1-4a37-8e18-33e8ca993fc1" providerId="ADAL" clId="{497CA709-868F-4F92-A616-552DA0217E09}" dt="2023-04-04T18:29:26.598" v="701" actId="1076"/>
          <ac:spMkLst>
            <pc:docMk/>
            <pc:sldMk cId="4039488280" sldId="2147470853"/>
            <ac:spMk id="95" creationId="{180FD886-447F-45CB-AEEF-33BB165BD72E}"/>
          </ac:spMkLst>
        </pc:spChg>
        <pc:grpChg chg="add mod">
          <ac:chgData name="Priya Roy" userId="1bdec0f2-4fa1-4a37-8e18-33e8ca993fc1" providerId="ADAL" clId="{497CA709-868F-4F92-A616-552DA0217E09}" dt="2023-04-04T18:20:53.340" v="452" actId="1038"/>
          <ac:grpSpMkLst>
            <pc:docMk/>
            <pc:sldMk cId="4039488280" sldId="2147470853"/>
            <ac:grpSpMk id="24" creationId="{F583449E-7DD9-4A41-997B-B44F4A6F58BF}"/>
          </ac:grpSpMkLst>
        </pc:grpChg>
        <pc:grpChg chg="mod">
          <ac:chgData name="Priya Roy" userId="1bdec0f2-4fa1-4a37-8e18-33e8ca993fc1" providerId="ADAL" clId="{497CA709-868F-4F92-A616-552DA0217E09}" dt="2023-04-04T18:29:06.773" v="697" actId="1076"/>
          <ac:grpSpMkLst>
            <pc:docMk/>
            <pc:sldMk cId="4039488280" sldId="2147470853"/>
            <ac:grpSpMk id="33" creationId="{306D82BF-A79E-4586-B6E7-CACAE8EEA02D}"/>
          </ac:grpSpMkLst>
        </pc:grpChg>
        <pc:grpChg chg="add mod">
          <ac:chgData name="Priya Roy" userId="1bdec0f2-4fa1-4a37-8e18-33e8ca993fc1" providerId="ADAL" clId="{497CA709-868F-4F92-A616-552DA0217E09}" dt="2023-04-04T18:28:36.928" v="686" actId="1076"/>
          <ac:grpSpMkLst>
            <pc:docMk/>
            <pc:sldMk cId="4039488280" sldId="2147470853"/>
            <ac:grpSpMk id="46" creationId="{7F4FF0D8-FBCD-4DF0-B647-A1B7561AA266}"/>
          </ac:grpSpMkLst>
        </pc:grpChg>
        <pc:grpChg chg="add del mod">
          <ac:chgData name="Priya Roy" userId="1bdec0f2-4fa1-4a37-8e18-33e8ca993fc1" providerId="ADAL" clId="{497CA709-868F-4F92-A616-552DA0217E09}" dt="2023-04-04T18:29:36.705" v="703" actId="478"/>
          <ac:grpSpMkLst>
            <pc:docMk/>
            <pc:sldMk cId="4039488280" sldId="2147470853"/>
            <ac:grpSpMk id="65" creationId="{6A3AD3F6-2DA7-47AA-A926-AC1B999D8ED3}"/>
          </ac:grpSpMkLst>
        </pc:grpChg>
        <pc:grpChg chg="add del mod">
          <ac:chgData name="Priya Roy" userId="1bdec0f2-4fa1-4a37-8e18-33e8ca993fc1" providerId="ADAL" clId="{497CA709-868F-4F92-A616-552DA0217E09}" dt="2023-04-04T18:30:57.136" v="716" actId="478"/>
          <ac:grpSpMkLst>
            <pc:docMk/>
            <pc:sldMk cId="4039488280" sldId="2147470853"/>
            <ac:grpSpMk id="81" creationId="{16438812-C893-4253-83FB-BF8C38DBCC62}"/>
          </ac:grpSpMkLst>
        </pc:grpChg>
        <pc:graphicFrameChg chg="add del mod modGraphic">
          <ac:chgData name="Priya Roy" userId="1bdec0f2-4fa1-4a37-8e18-33e8ca993fc1" providerId="ADAL" clId="{497CA709-868F-4F92-A616-552DA0217E09}" dt="2023-04-04T18:19:56.086" v="426" actId="18245"/>
          <ac:graphicFrameMkLst>
            <pc:docMk/>
            <pc:sldMk cId="4039488280" sldId="2147470853"/>
            <ac:graphicFrameMk id="32" creationId="{364F4B10-BE99-4EA3-A6A2-100046261C6D}"/>
          </ac:graphicFrameMkLst>
        </pc:graphicFrameChg>
        <pc:picChg chg="add mod">
          <ac:chgData name="Priya Roy" userId="1bdec0f2-4fa1-4a37-8e18-33e8ca993fc1" providerId="ADAL" clId="{497CA709-868F-4F92-A616-552DA0217E09}" dt="2023-04-04T18:30:18.489" v="710" actId="1076"/>
          <ac:picMkLst>
            <pc:docMk/>
            <pc:sldMk cId="4039488280" sldId="2147470853"/>
            <ac:picMk id="97" creationId="{1336F4AC-D6F7-4A10-ACAE-FB586BB282BA}"/>
          </ac:picMkLst>
        </pc:picChg>
        <pc:picChg chg="add mod">
          <ac:chgData name="Priya Roy" userId="1bdec0f2-4fa1-4a37-8e18-33e8ca993fc1" providerId="ADAL" clId="{497CA709-868F-4F92-A616-552DA0217E09}" dt="2023-04-04T18:30:13.602" v="708" actId="1076"/>
          <ac:picMkLst>
            <pc:docMk/>
            <pc:sldMk cId="4039488280" sldId="2147470853"/>
            <ac:picMk id="99" creationId="{C80C8CB7-EAE8-45DD-82C5-42D54A92386F}"/>
          </ac:picMkLst>
        </pc:picChg>
        <pc:picChg chg="add mod">
          <ac:chgData name="Priya Roy" userId="1bdec0f2-4fa1-4a37-8e18-33e8ca993fc1" providerId="ADAL" clId="{497CA709-868F-4F92-A616-552DA0217E09}" dt="2023-04-04T18:31:06.219" v="719" actId="1076"/>
          <ac:picMkLst>
            <pc:docMk/>
            <pc:sldMk cId="4039488280" sldId="2147470853"/>
            <ac:picMk id="101" creationId="{88E5B2CF-4BEA-4DF3-BB32-69CC884F7BCB}"/>
          </ac:picMkLst>
        </pc:picChg>
      </pc:sldChg>
      <pc:sldMasterChg chg="delSp mod modSldLayout">
        <pc:chgData name="Priya Roy" userId="1bdec0f2-4fa1-4a37-8e18-33e8ca993fc1" providerId="ADAL" clId="{497CA709-868F-4F92-A616-552DA0217E09}" dt="2023-04-04T17:56:53.686" v="129" actId="478"/>
        <pc:sldMasterMkLst>
          <pc:docMk/>
          <pc:sldMasterMk cId="2945010009" sldId="2147483892"/>
        </pc:sldMasterMkLst>
        <pc:grpChg chg="del">
          <ac:chgData name="Priya Roy" userId="1bdec0f2-4fa1-4a37-8e18-33e8ca993fc1" providerId="ADAL" clId="{497CA709-868F-4F92-A616-552DA0217E09}" dt="2023-04-04T17:55:48.578" v="118" actId="478"/>
          <ac:grpSpMkLst>
            <pc:docMk/>
            <pc:sldMasterMk cId="2945010009" sldId="2147483892"/>
            <ac:grpSpMk id="19" creationId="{E5FF8F2A-9422-420C-B50E-588E96C8CB1E}"/>
          </ac:grpSpMkLst>
        </pc:grpChg>
        <pc:sldLayoutChg chg="delSp mod">
          <pc:chgData name="Priya Roy" userId="1bdec0f2-4fa1-4a37-8e18-33e8ca993fc1" providerId="ADAL" clId="{497CA709-868F-4F92-A616-552DA0217E09}" dt="2023-04-04T17:56:53.686" v="129" actId="478"/>
          <pc:sldLayoutMkLst>
            <pc:docMk/>
            <pc:sldMasterMk cId="2945010009" sldId="2147483892"/>
            <pc:sldLayoutMk cId="275335920" sldId="2147484023"/>
          </pc:sldLayoutMkLst>
          <pc:spChg chg="del">
            <ac:chgData name="Priya Roy" userId="1bdec0f2-4fa1-4a37-8e18-33e8ca993fc1" providerId="ADAL" clId="{497CA709-868F-4F92-A616-552DA0217E09}" dt="2023-04-04T17:56:51.459" v="128" actId="478"/>
            <ac:spMkLst>
              <pc:docMk/>
              <pc:sldMasterMk cId="2945010009" sldId="2147483892"/>
              <pc:sldLayoutMk cId="275335920" sldId="2147484023"/>
              <ac:spMk id="2" creationId="{154480D6-8E86-4585-8F0D-45695F0D0FA5}"/>
            </ac:spMkLst>
          </pc:spChg>
          <pc:spChg chg="del">
            <ac:chgData name="Priya Roy" userId="1bdec0f2-4fa1-4a37-8e18-33e8ca993fc1" providerId="ADAL" clId="{497CA709-868F-4F92-A616-552DA0217E09}" dt="2023-04-04T17:56:45.959" v="126" actId="478"/>
            <ac:spMkLst>
              <pc:docMk/>
              <pc:sldMasterMk cId="2945010009" sldId="2147483892"/>
              <pc:sldLayoutMk cId="275335920" sldId="2147484023"/>
              <ac:spMk id="50" creationId="{3A2065DB-7BF5-4CF3-A5DC-E515FBBA2E55}"/>
            </ac:spMkLst>
          </pc:spChg>
          <pc:spChg chg="del">
            <ac:chgData name="Priya Roy" userId="1bdec0f2-4fa1-4a37-8e18-33e8ca993fc1" providerId="ADAL" clId="{497CA709-868F-4F92-A616-552DA0217E09}" dt="2023-04-04T17:56:48.860" v="127" actId="478"/>
            <ac:spMkLst>
              <pc:docMk/>
              <pc:sldMasterMk cId="2945010009" sldId="2147483892"/>
              <pc:sldLayoutMk cId="275335920" sldId="2147484023"/>
              <ac:spMk id="53" creationId="{BB746D22-4D3C-4EA5-B35F-7495D39C37E8}"/>
            </ac:spMkLst>
          </pc:spChg>
          <pc:spChg chg="del">
            <ac:chgData name="Priya Roy" userId="1bdec0f2-4fa1-4a37-8e18-33e8ca993fc1" providerId="ADAL" clId="{497CA709-868F-4F92-A616-552DA0217E09}" dt="2023-04-04T17:56:53.686" v="129" actId="478"/>
            <ac:spMkLst>
              <pc:docMk/>
              <pc:sldMasterMk cId="2945010009" sldId="2147483892"/>
              <pc:sldLayoutMk cId="275335920" sldId="2147484023"/>
              <ac:spMk id="55" creationId="{FD371F3B-15D8-4E49-B3B5-3B787C476B72}"/>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058530310339281E-2"/>
          <c:y val="2.9781879194630871E-2"/>
          <c:w val="0.94757999678404892"/>
          <c:h val="0.94001677852348997"/>
        </c:manualLayout>
      </c:layout>
      <c:barChart>
        <c:barDir val="col"/>
        <c:grouping val="stacked"/>
        <c:varyColors val="0"/>
        <c:ser>
          <c:idx val="0"/>
          <c:order val="0"/>
          <c:spPr>
            <a:solidFill>
              <a:srgbClr val="60E6E1"/>
            </a:solidFill>
            <a:ln w="12700" algn="ctr">
              <a:solidFill>
                <a:srgbClr val="FFFFFF"/>
              </a:solidFill>
              <a:prstDash val="solid"/>
            </a:ln>
          </c:spPr>
          <c:invertIfNegative val="0"/>
          <c:val>
            <c:numRef>
              <c:f>Sheet1!$A$1:$C$1</c:f>
              <c:numCache>
                <c:formatCode>General</c:formatCode>
                <c:ptCount val="3"/>
                <c:pt idx="0">
                  <c:v>3.5</c:v>
                </c:pt>
                <c:pt idx="1">
                  <c:v>5.3</c:v>
                </c:pt>
                <c:pt idx="2">
                  <c:v>4.0999999999999996</c:v>
                </c:pt>
              </c:numCache>
            </c:numRef>
          </c:val>
          <c:extLst>
            <c:ext xmlns:c16="http://schemas.microsoft.com/office/drawing/2014/chart" uri="{C3380CC4-5D6E-409C-BE32-E72D297353CC}">
              <c16:uniqueId val="{00000000-5AAC-4A95-B312-A2DFE195F142}"/>
            </c:ext>
          </c:extLst>
        </c:ser>
        <c:ser>
          <c:idx val="1"/>
          <c:order val="1"/>
          <c:spPr>
            <a:solidFill>
              <a:srgbClr val="42C9C2"/>
            </a:solidFill>
            <a:ln w="12700" algn="ctr">
              <a:solidFill>
                <a:srgbClr val="FFFFFF"/>
              </a:solidFill>
              <a:prstDash val="solid"/>
            </a:ln>
          </c:spPr>
          <c:invertIfNegative val="0"/>
          <c:val>
            <c:numRef>
              <c:f>Sheet1!$A$2:$C$2</c:f>
              <c:numCache>
                <c:formatCode>General</c:formatCode>
                <c:ptCount val="3"/>
                <c:pt idx="0">
                  <c:v>5.0999999999999996</c:v>
                </c:pt>
                <c:pt idx="1">
                  <c:v>3.8999999999999995</c:v>
                </c:pt>
                <c:pt idx="2">
                  <c:v>7.2000000000000011</c:v>
                </c:pt>
              </c:numCache>
            </c:numRef>
          </c:val>
          <c:extLst>
            <c:ext xmlns:c16="http://schemas.microsoft.com/office/drawing/2014/chart" uri="{C3380CC4-5D6E-409C-BE32-E72D297353CC}">
              <c16:uniqueId val="{00000001-5AAC-4A95-B312-A2DFE195F142}"/>
            </c:ext>
          </c:extLst>
        </c:ser>
        <c:ser>
          <c:idx val="2"/>
          <c:order val="2"/>
          <c:spPr>
            <a:solidFill>
              <a:srgbClr val="27ACAA"/>
            </a:solidFill>
            <a:ln w="12700" algn="ctr">
              <a:solidFill>
                <a:srgbClr val="FFFFFF"/>
              </a:solidFill>
              <a:prstDash val="solid"/>
            </a:ln>
          </c:spPr>
          <c:invertIfNegative val="0"/>
          <c:val>
            <c:numRef>
              <c:f>Sheet1!$A$3:$C$3</c:f>
              <c:numCache>
                <c:formatCode>General</c:formatCode>
                <c:ptCount val="3"/>
                <c:pt idx="0">
                  <c:v>12.9</c:v>
                </c:pt>
                <c:pt idx="1">
                  <c:v>21.8</c:v>
                </c:pt>
                <c:pt idx="2">
                  <c:v>35.100000000000009</c:v>
                </c:pt>
              </c:numCache>
            </c:numRef>
          </c:val>
          <c:extLst>
            <c:ext xmlns:c16="http://schemas.microsoft.com/office/drawing/2014/chart" uri="{C3380CC4-5D6E-409C-BE32-E72D297353CC}">
              <c16:uniqueId val="{00000002-5AAC-4A95-B312-A2DFE195F142}"/>
            </c:ext>
          </c:extLst>
        </c:ser>
        <c:dLbls>
          <c:showLegendKey val="0"/>
          <c:showVal val="0"/>
          <c:showCatName val="0"/>
          <c:showSerName val="0"/>
          <c:showPercent val="0"/>
          <c:showBubbleSize val="0"/>
        </c:dLbls>
        <c:gapWidth val="80"/>
        <c:overlap val="100"/>
        <c:axId val="198433031"/>
        <c:axId val="1"/>
      </c:barChart>
      <c:catAx>
        <c:axId val="198433031"/>
        <c:scaling>
          <c:orientation val="minMax"/>
        </c:scaling>
        <c:delete val="0"/>
        <c:axPos val="b"/>
        <c:majorGridlines>
          <c:spPr>
            <a:ln>
              <a:noFill/>
            </a:ln>
          </c:spPr>
        </c:majorGridlines>
        <c:majorTickMark val="none"/>
        <c:minorTickMark val="none"/>
        <c:tickLblPos val="none"/>
        <c:spPr>
          <a:ln w="3175" algn="ctr">
            <a:solidFill>
              <a:srgbClr val="000000"/>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3175" algn="ctr">
            <a:solidFill>
              <a:srgbClr val="000000"/>
            </a:solidFill>
            <a:prstDash val="solid"/>
          </a:ln>
        </c:spPr>
        <c:txPr>
          <a:bodyPr wrap="none"/>
          <a:lstStyle/>
          <a:p>
            <a:pPr>
              <a:defRPr sz="1200" kern="1200">
                <a:solidFill>
                  <a:schemeClr val="bg1"/>
                </a:solidFill>
                <a:latin typeface="EYInterstate Light"/>
                <a:ea typeface="EYInterstate Light"/>
                <a:cs typeface="EYInterstate Light"/>
                <a:sym typeface="EYInterstate Light"/>
              </a:defRPr>
            </a:pPr>
            <a:endParaRPr lang="en-US"/>
          </a:p>
        </c:txPr>
        <c:crossAx val="198433031"/>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04425054534122E-2"/>
          <c:y val="2.2174840085287847E-2"/>
          <c:w val="0.96759114989093176"/>
          <c:h val="0.95565031982942428"/>
        </c:manualLayout>
      </c:layout>
      <c:barChart>
        <c:barDir val="col"/>
        <c:grouping val="stacked"/>
        <c:varyColors val="0"/>
        <c:ser>
          <c:idx val="0"/>
          <c:order val="0"/>
          <c:spPr>
            <a:solidFill>
              <a:srgbClr val="93F0E6"/>
            </a:solidFill>
            <a:ln w="12700" algn="ctr">
              <a:solidFill>
                <a:srgbClr val="FFFFFF"/>
              </a:solidFill>
              <a:prstDash val="solid"/>
            </a:ln>
          </c:spPr>
          <c:invertIfNegative val="0"/>
          <c:val>
            <c:numRef>
              <c:f>Sheet1!$A$1:$C$1</c:f>
              <c:numCache>
                <c:formatCode>General</c:formatCode>
                <c:ptCount val="3"/>
                <c:pt idx="0">
                  <c:v>3.5</c:v>
                </c:pt>
                <c:pt idx="1">
                  <c:v>5.3</c:v>
                </c:pt>
                <c:pt idx="2">
                  <c:v>4.0999999999999996</c:v>
                </c:pt>
              </c:numCache>
            </c:numRef>
          </c:val>
          <c:extLst>
            <c:ext xmlns:c16="http://schemas.microsoft.com/office/drawing/2014/chart" uri="{C3380CC4-5D6E-409C-BE32-E72D297353CC}">
              <c16:uniqueId val="{00000000-CC69-4F55-A43B-E54B29FA5AE2}"/>
            </c:ext>
          </c:extLst>
        </c:ser>
        <c:ser>
          <c:idx val="1"/>
          <c:order val="1"/>
          <c:spPr>
            <a:solidFill>
              <a:srgbClr val="42C9C2"/>
            </a:solidFill>
            <a:ln w="12700" algn="ctr">
              <a:solidFill>
                <a:srgbClr val="FFFFFF"/>
              </a:solidFill>
              <a:prstDash val="solid"/>
            </a:ln>
          </c:spPr>
          <c:invertIfNegative val="0"/>
          <c:val>
            <c:numRef>
              <c:f>Sheet1!$A$2:$C$2</c:f>
              <c:numCache>
                <c:formatCode>General</c:formatCode>
                <c:ptCount val="3"/>
                <c:pt idx="0">
                  <c:v>5.0999999999999996</c:v>
                </c:pt>
                <c:pt idx="1">
                  <c:v>3.8999999999999995</c:v>
                </c:pt>
                <c:pt idx="2">
                  <c:v>7.2000000000000011</c:v>
                </c:pt>
              </c:numCache>
            </c:numRef>
          </c:val>
          <c:extLst>
            <c:ext xmlns:c16="http://schemas.microsoft.com/office/drawing/2014/chart" uri="{C3380CC4-5D6E-409C-BE32-E72D297353CC}">
              <c16:uniqueId val="{00000001-CC69-4F55-A43B-E54B29FA5AE2}"/>
            </c:ext>
          </c:extLst>
        </c:ser>
        <c:ser>
          <c:idx val="2"/>
          <c:order val="2"/>
          <c:spPr>
            <a:solidFill>
              <a:srgbClr val="27ACAA"/>
            </a:solidFill>
            <a:ln w="12700" algn="ctr">
              <a:solidFill>
                <a:srgbClr val="FFFFFF"/>
              </a:solidFill>
              <a:prstDash val="solid"/>
            </a:ln>
          </c:spPr>
          <c:invertIfNegative val="0"/>
          <c:val>
            <c:numRef>
              <c:f>Sheet1!$A$3:$C$3</c:f>
              <c:numCache>
                <c:formatCode>General</c:formatCode>
                <c:ptCount val="3"/>
                <c:pt idx="0">
                  <c:v>12.9</c:v>
                </c:pt>
                <c:pt idx="1">
                  <c:v>21.8</c:v>
                </c:pt>
                <c:pt idx="2">
                  <c:v>35.100000000000009</c:v>
                </c:pt>
              </c:numCache>
            </c:numRef>
          </c:val>
          <c:extLst>
            <c:ext xmlns:c16="http://schemas.microsoft.com/office/drawing/2014/chart" uri="{C3380CC4-5D6E-409C-BE32-E72D297353CC}">
              <c16:uniqueId val="{00000002-CC69-4F55-A43B-E54B29FA5AE2}"/>
            </c:ext>
          </c:extLst>
        </c:ser>
        <c:dLbls>
          <c:showLegendKey val="0"/>
          <c:showVal val="0"/>
          <c:showCatName val="0"/>
          <c:showSerName val="0"/>
          <c:showPercent val="0"/>
          <c:showBubbleSize val="0"/>
        </c:dLbls>
        <c:gapWidth val="80"/>
        <c:overlap val="100"/>
        <c:axId val="198407775"/>
        <c:axId val="1"/>
      </c:barChart>
      <c:catAx>
        <c:axId val="198407775"/>
        <c:scaling>
          <c:orientation val="minMax"/>
        </c:scaling>
        <c:delete val="0"/>
        <c:axPos val="b"/>
        <c:majorGridlines>
          <c:spPr>
            <a:ln>
              <a:noFill/>
            </a:ln>
          </c:spPr>
        </c:majorGridlines>
        <c:majorTickMark val="none"/>
        <c:minorTickMark val="none"/>
        <c:tickLblPos val="none"/>
        <c:spPr>
          <a:ln w="3175" algn="ctr">
            <a:solidFill>
              <a:srgbClr val="000000"/>
            </a:solidFill>
            <a:prstDash val="solid"/>
          </a:ln>
        </c:spPr>
        <c:crossAx val="1"/>
        <c:crosses val="min"/>
        <c:auto val="0"/>
        <c:lblAlgn val="ctr"/>
        <c:lblOffset val="100"/>
        <c:noMultiLvlLbl val="0"/>
      </c:catAx>
      <c:valAx>
        <c:axId val="1"/>
        <c:scaling>
          <c:orientation val="minMax"/>
          <c:max val="46.400000000000006"/>
          <c:min val="0"/>
        </c:scaling>
        <c:delete val="1"/>
        <c:axPos val="r"/>
        <c:numFmt formatCode="General" sourceLinked="1"/>
        <c:majorTickMark val="out"/>
        <c:minorTickMark val="none"/>
        <c:tickLblPos val="nextTo"/>
        <c:crossAx val="198407775"/>
        <c:crosses val="max"/>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94331983805668E-2"/>
          <c:y val="2.2174840085287847E-2"/>
          <c:w val="0.96761133603238869"/>
          <c:h val="0.95565031982942428"/>
        </c:manualLayout>
      </c:layout>
      <c:barChart>
        <c:barDir val="col"/>
        <c:grouping val="stacked"/>
        <c:varyColors val="0"/>
        <c:ser>
          <c:idx val="0"/>
          <c:order val="0"/>
          <c:spPr>
            <a:solidFill>
              <a:srgbClr val="93F0E6"/>
            </a:solidFill>
            <a:ln w="12700" algn="ctr">
              <a:solidFill>
                <a:srgbClr val="FFFFFF"/>
              </a:solidFill>
              <a:prstDash val="solid"/>
            </a:ln>
          </c:spPr>
          <c:invertIfNegative val="0"/>
          <c:val>
            <c:numRef>
              <c:f>Sheet1!$A$1:$C$1</c:f>
              <c:numCache>
                <c:formatCode>General</c:formatCode>
                <c:ptCount val="3"/>
                <c:pt idx="0">
                  <c:v>3.5</c:v>
                </c:pt>
                <c:pt idx="1">
                  <c:v>5.3</c:v>
                </c:pt>
                <c:pt idx="2">
                  <c:v>4.0999999999999996</c:v>
                </c:pt>
              </c:numCache>
            </c:numRef>
          </c:val>
          <c:extLst>
            <c:ext xmlns:c16="http://schemas.microsoft.com/office/drawing/2014/chart" uri="{C3380CC4-5D6E-409C-BE32-E72D297353CC}">
              <c16:uniqueId val="{00000000-F0FE-48DB-BCF9-C309044F71C4}"/>
            </c:ext>
          </c:extLst>
        </c:ser>
        <c:ser>
          <c:idx val="1"/>
          <c:order val="1"/>
          <c:spPr>
            <a:solidFill>
              <a:srgbClr val="42C9C2"/>
            </a:solidFill>
            <a:ln w="12700" algn="ctr">
              <a:solidFill>
                <a:srgbClr val="FFFFFF"/>
              </a:solidFill>
              <a:prstDash val="solid"/>
            </a:ln>
          </c:spPr>
          <c:invertIfNegative val="0"/>
          <c:val>
            <c:numRef>
              <c:f>Sheet1!$A$2:$C$2</c:f>
              <c:numCache>
                <c:formatCode>General</c:formatCode>
                <c:ptCount val="3"/>
                <c:pt idx="0">
                  <c:v>5.0999999999999996</c:v>
                </c:pt>
                <c:pt idx="1">
                  <c:v>3.8999999999999995</c:v>
                </c:pt>
                <c:pt idx="2">
                  <c:v>7.2000000000000011</c:v>
                </c:pt>
              </c:numCache>
            </c:numRef>
          </c:val>
          <c:extLst>
            <c:ext xmlns:c16="http://schemas.microsoft.com/office/drawing/2014/chart" uri="{C3380CC4-5D6E-409C-BE32-E72D297353CC}">
              <c16:uniqueId val="{00000001-F0FE-48DB-BCF9-C309044F71C4}"/>
            </c:ext>
          </c:extLst>
        </c:ser>
        <c:ser>
          <c:idx val="2"/>
          <c:order val="2"/>
          <c:spPr>
            <a:solidFill>
              <a:srgbClr val="27ACAA"/>
            </a:solidFill>
            <a:ln w="12700" algn="ctr">
              <a:solidFill>
                <a:srgbClr val="FFFFFF"/>
              </a:solidFill>
              <a:prstDash val="solid"/>
            </a:ln>
          </c:spPr>
          <c:invertIfNegative val="0"/>
          <c:val>
            <c:numRef>
              <c:f>Sheet1!$A$3:$C$3</c:f>
              <c:numCache>
                <c:formatCode>General</c:formatCode>
                <c:ptCount val="3"/>
                <c:pt idx="0">
                  <c:v>12.9</c:v>
                </c:pt>
                <c:pt idx="1">
                  <c:v>21.8</c:v>
                </c:pt>
                <c:pt idx="2">
                  <c:v>35.100000000000009</c:v>
                </c:pt>
              </c:numCache>
            </c:numRef>
          </c:val>
          <c:extLst>
            <c:ext xmlns:c16="http://schemas.microsoft.com/office/drawing/2014/chart" uri="{C3380CC4-5D6E-409C-BE32-E72D297353CC}">
              <c16:uniqueId val="{00000002-F0FE-48DB-BCF9-C309044F71C4}"/>
            </c:ext>
          </c:extLst>
        </c:ser>
        <c:dLbls>
          <c:showLegendKey val="0"/>
          <c:showVal val="0"/>
          <c:showCatName val="0"/>
          <c:showSerName val="0"/>
          <c:showPercent val="0"/>
          <c:showBubbleSize val="0"/>
        </c:dLbls>
        <c:gapWidth val="80"/>
        <c:overlap val="100"/>
        <c:axId val="198404495"/>
        <c:axId val="1"/>
      </c:barChart>
      <c:catAx>
        <c:axId val="198404495"/>
        <c:scaling>
          <c:orientation val="minMax"/>
        </c:scaling>
        <c:delete val="0"/>
        <c:axPos val="b"/>
        <c:majorGridlines>
          <c:spPr>
            <a:ln>
              <a:noFill/>
            </a:ln>
          </c:spPr>
        </c:majorGridlines>
        <c:majorTickMark val="none"/>
        <c:minorTickMark val="none"/>
        <c:tickLblPos val="none"/>
        <c:spPr>
          <a:ln w="3175" algn="ctr">
            <a:solidFill>
              <a:srgbClr val="000000"/>
            </a:solidFill>
            <a:prstDash val="solid"/>
          </a:ln>
        </c:spPr>
        <c:crossAx val="1"/>
        <c:crosses val="min"/>
        <c:auto val="0"/>
        <c:lblAlgn val="ctr"/>
        <c:lblOffset val="100"/>
        <c:noMultiLvlLbl val="0"/>
      </c:catAx>
      <c:valAx>
        <c:axId val="1"/>
        <c:scaling>
          <c:orientation val="minMax"/>
          <c:max val="46.400000000000006"/>
          <c:min val="0"/>
        </c:scaling>
        <c:delete val="1"/>
        <c:axPos val="r"/>
        <c:numFmt formatCode="General" sourceLinked="1"/>
        <c:majorTickMark val="out"/>
        <c:minorTickMark val="none"/>
        <c:tickLblPos val="nextTo"/>
        <c:crossAx val="198404495"/>
        <c:crosses val="max"/>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04/04/2023</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EYInterstate Light" panose="02000506000000020004" pitchFamily="2" charset="0"/>
                <a:cs typeface="Arial" panose="020B0604020202020204" pitchFamily="34" charset="0"/>
                <a:sym typeface="EYInterstate Light" panose="02000506000000020004" pitchFamily="2" charset="0"/>
              </a:defRPr>
            </a:lvl1pPr>
          </a:lstStyle>
          <a:p>
            <a:fld id="{8045EBA9-A28D-4849-BFEA-AA04F6A21B63}" type="datetimeFigureOut">
              <a:rPr lang="en-GB" smtClean="0"/>
              <a:pPr/>
              <a:t>04/04/2023</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latin typeface="EYInterstate Light" panose="02000506000000020004" pitchFamily="2" charset="0"/>
            </a:endParaRPr>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EYInterstate Light" panose="02000506000000020004" pitchFamily="2" charset="0"/>
                <a:cs typeface="Arial" panose="020B0604020202020204" pitchFamily="34" charset="0"/>
                <a:sym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457200" algn="l" defTabSz="914400" rtl="0" eaLnBrk="1" latinLnBrk="0" hangingPunct="1">
      <a:defRPr sz="1200" kern="1200">
        <a:solidFill>
          <a:schemeClr val="tx1"/>
        </a:solidFill>
        <a:latin typeface="EYInterstate Light" panose="02000506000000020004" pitchFamily="2" charset="0"/>
        <a:ea typeface="+mn-ea"/>
        <a:cs typeface="Arial" panose="020B0604020202020204" pitchFamily="34" charset="0"/>
        <a:sym typeface="EYInterstate Light" panose="02000506000000020004" pitchFamily="2" charset="0"/>
      </a:defRPr>
    </a:lvl2pPr>
    <a:lvl3pPr marL="914400" algn="l" defTabSz="914400" rtl="0" eaLnBrk="1" latinLnBrk="0" hangingPunct="1">
      <a:defRPr sz="1200" kern="1200">
        <a:solidFill>
          <a:schemeClr val="tx1"/>
        </a:solidFill>
        <a:latin typeface="EYInterstate Light" panose="02000506000000020004" pitchFamily="2" charset="0"/>
        <a:ea typeface="+mn-ea"/>
        <a:cs typeface="Arial" panose="020B0604020202020204" pitchFamily="34" charset="0"/>
        <a:sym typeface="EYInterstate Light" panose="02000506000000020004" pitchFamily="2" charset="0"/>
      </a:defRPr>
    </a:lvl3pPr>
    <a:lvl4pPr marL="1371600" algn="l" defTabSz="914400" rtl="0" eaLnBrk="1" latinLnBrk="0" hangingPunct="1">
      <a:defRPr sz="1200" kern="1200">
        <a:solidFill>
          <a:schemeClr val="tx1"/>
        </a:solidFill>
        <a:latin typeface="EYInterstate Light" panose="02000506000000020004" pitchFamily="2" charset="0"/>
        <a:ea typeface="+mn-ea"/>
        <a:cs typeface="Arial" panose="020B0604020202020204" pitchFamily="34" charset="0"/>
        <a:sym typeface="EYInterstate Light" panose="02000506000000020004" pitchFamily="2" charset="0"/>
      </a:defRPr>
    </a:lvl4pPr>
    <a:lvl5pPr marL="1828800" algn="l" defTabSz="914400" rtl="0" eaLnBrk="1" latinLnBrk="0" hangingPunct="1">
      <a:defRPr sz="1200" kern="1200">
        <a:solidFill>
          <a:schemeClr val="tx1"/>
        </a:solidFill>
        <a:latin typeface="EYInterstate Light" panose="02000506000000020004" pitchFamily="2" charset="0"/>
        <a:ea typeface="+mn-ea"/>
        <a:cs typeface="Arial" panose="020B0604020202020204" pitchFamily="34" charset="0"/>
        <a:sym typeface="EYInterstate Light" panose="0200050600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50970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11580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300719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1579496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4014032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3458853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31086498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4.xml"/><Relationship Id="rId7" Type="http://schemas.openxmlformats.org/officeDocument/2006/relationships/image" Target="../media/image2.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4.jpeg"/><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36288588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18" name="Title 1"/>
          <p:cNvSpPr>
            <a:spLocks noGrp="1"/>
          </p:cNvSpPr>
          <p:nvPr userDrawn="1">
            <p:ph type="ctrTitle"/>
          </p:nvPr>
        </p:nvSpPr>
        <p:spPr>
          <a:xfrm>
            <a:off x="1058038" y="435988"/>
            <a:ext cx="3792785" cy="868680"/>
          </a:xfrm>
          <a:prstGeom prst="rect">
            <a:avLst/>
          </a:prstGeom>
        </p:spPr>
        <p:txBody>
          <a:bodyPr vert="horz"/>
          <a:lstStyle>
            <a:lvl1pPr>
              <a:defRPr sz="3000" b="0">
                <a:solidFill>
                  <a:schemeClr val="bg1"/>
                </a:solidFill>
                <a:latin typeface="EYInterstate Light" panose="02000506000000020004" pitchFamily="2" charset="0"/>
                <a:cs typeface="Arial" pitchFamily="34" charset="0"/>
                <a:sym typeface="EYInterstate Light" panose="02000506000000020004" pitchFamily="2"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69291" y="1780465"/>
            <a:ext cx="3792785" cy="645742"/>
          </a:xfrm>
          <a:prstGeom prst="rect">
            <a:avLst/>
          </a:prstGeom>
        </p:spPr>
        <p:txBody>
          <a:bodyPr>
            <a:normAutofit/>
          </a:bodyPr>
          <a:lstStyle>
            <a:lvl1pPr marL="0" indent="0" algn="l">
              <a:buNone/>
              <a:defRPr sz="1600">
                <a:solidFill>
                  <a:schemeClr val="bg1"/>
                </a:solidFill>
                <a:latin typeface="EYInterstate" panose="02000503020000020004" pitchFamily="2" charset="0"/>
                <a:cs typeface="Arial" pitchFamily="34" charset="0"/>
                <a:sym typeface="EYInterstate Light" panose="02000506000000020004" pitchFamily="2"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4540" y="460564"/>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2"/>
            </p:custDataLst>
          </p:nvPr>
        </p:nvSpPr>
        <p:spPr>
          <a:xfrm>
            <a:off x="612445" y="460564"/>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p:ph type="body" sz="quarter" idx="16" hasCustomPrompt="1"/>
          </p:nvPr>
        </p:nvSpPr>
        <p:spPr>
          <a:xfrm>
            <a:off x="1359619" y="5914112"/>
            <a:ext cx="3087667" cy="180000"/>
          </a:xfrm>
          <a:prstGeom prst="rect">
            <a:avLst/>
          </a:prstGeom>
        </p:spPr>
        <p:txBody>
          <a:bodyPr/>
          <a:lstStyle>
            <a:lvl1pPr marL="0" indent="0">
              <a:buNone/>
              <a:defRPr sz="120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name</a:t>
            </a:r>
            <a:endParaRPr lang="en-GB" dirty="0"/>
          </a:p>
        </p:txBody>
      </p:sp>
      <p:sp>
        <p:nvSpPr>
          <p:cNvPr id="353" name="Text Placeholder 16">
            <a:extLst>
              <a:ext uri="{FF2B5EF4-FFF2-40B4-BE49-F238E27FC236}">
                <a16:creationId xmlns:a16="http://schemas.microsoft.com/office/drawing/2014/main" id="{0E56CFA0-D3C6-452E-8DFA-FE75B6A8F668}"/>
              </a:ext>
            </a:extLst>
          </p:cNvPr>
          <p:cNvSpPr>
            <a:spLocks noGrp="1"/>
          </p:cNvSpPr>
          <p:nvPr>
            <p:ph type="body" sz="quarter" idx="17" hasCustomPrompt="1"/>
          </p:nvPr>
        </p:nvSpPr>
        <p:spPr>
          <a:xfrm>
            <a:off x="1359619" y="6156755"/>
            <a:ext cx="3087667" cy="180000"/>
          </a:xfrm>
          <a:prstGeom prst="rect">
            <a:avLst/>
          </a:prstGeom>
        </p:spPr>
        <p:txBody>
          <a:bodyPr/>
          <a:lstStyle>
            <a:lvl1pPr marL="0" indent="0">
              <a:buNone/>
              <a:defRPr sz="1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Additional text if needed</a:t>
            </a:r>
            <a:endParaRPr lang="en-GB" dirty="0"/>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362344" y="5743608"/>
            <a:ext cx="777240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0962" y="5630224"/>
            <a:ext cx="1044529"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cs typeface="Arial" panose="020B0604020202020204" pitchFamily="34" charset="0"/>
                <a:sym typeface="EYInterstate Light" panose="02000506000000020004" pitchFamily="2" charset="0"/>
              </a:rPr>
              <a:t>Written by</a:t>
            </a:r>
          </a:p>
        </p:txBody>
      </p:sp>
      <p:sp>
        <p:nvSpPr>
          <p:cNvPr id="3" name="Text Placeholder 2">
            <a:extLst>
              <a:ext uri="{FF2B5EF4-FFF2-40B4-BE49-F238E27FC236}">
                <a16:creationId xmlns:a16="http://schemas.microsoft.com/office/drawing/2014/main" id="{C40DD0AB-B389-4838-A777-D9AD125B3126}"/>
              </a:ext>
            </a:extLst>
          </p:cNvPr>
          <p:cNvSpPr>
            <a:spLocks noGrp="1"/>
          </p:cNvSpPr>
          <p:nvPr>
            <p:ph type="body" sz="quarter" idx="18" hasCustomPrompt="1"/>
          </p:nvPr>
        </p:nvSpPr>
        <p:spPr>
          <a:xfrm>
            <a:off x="1069418" y="3503820"/>
            <a:ext cx="3808017" cy="423453"/>
          </a:xfrm>
        </p:spPr>
        <p:txBody>
          <a:bodyPr anchor="b"/>
          <a:lstStyle>
            <a:lvl1pPr marL="0" indent="0" algn="l">
              <a:buFontTx/>
              <a:buNone/>
              <a:defRPr>
                <a:latin typeface="EYInterstate" panose="02000503020000020004" pitchFamily="2" charset="0"/>
                <a:cs typeface="Arial" panose="020B0604020202020204" pitchFamily="34" charset="0"/>
                <a:sym typeface="EYInterstate Light" panose="02000506000000020004" pitchFamily="2" charset="0"/>
              </a:defRPr>
            </a:lvl1pPr>
            <a:lvl2pPr marL="171450" indent="0" algn="l">
              <a:buFontTx/>
              <a:buNone/>
              <a:defRPr/>
            </a:lvl2pPr>
            <a:lvl3pPr marL="342900" indent="0" algn="l">
              <a:buFontTx/>
              <a:buNone/>
              <a:defRPr/>
            </a:lvl3pPr>
            <a:lvl4pPr marL="514350" indent="0" algn="l">
              <a:buFontTx/>
              <a:buNone/>
              <a:defRPr/>
            </a:lvl4pPr>
            <a:lvl5pPr marL="685800" indent="0" algn="l">
              <a:buFontTx/>
              <a:buNone/>
              <a:defRPr/>
            </a:lvl5pPr>
          </a:lstStyle>
          <a:p>
            <a:pPr lvl="0"/>
            <a:r>
              <a:rPr lang="en-US" dirty="0"/>
              <a:t>Date</a:t>
            </a:r>
          </a:p>
        </p:txBody>
      </p:sp>
      <p:sp>
        <p:nvSpPr>
          <p:cNvPr id="35" name="Picture Placeholder 19">
            <a:extLst>
              <a:ext uri="{FF2B5EF4-FFF2-40B4-BE49-F238E27FC236}">
                <a16:creationId xmlns:a16="http://schemas.microsoft.com/office/drawing/2014/main" id="{41DD65F8-CEA7-4F6D-902D-A98E3F5EE100}"/>
              </a:ext>
            </a:extLst>
          </p:cNvPr>
          <p:cNvSpPr>
            <a:spLocks noGrp="1"/>
          </p:cNvSpPr>
          <p:nvPr>
            <p:ph type="pic" sz="quarter" idx="19"/>
          </p:nvPr>
        </p:nvSpPr>
        <p:spPr>
          <a:xfrm>
            <a:off x="624215" y="5845057"/>
            <a:ext cx="576000" cy="576000"/>
          </a:xfrm>
          <a:prstGeom prst="ellipse">
            <a:avLst/>
          </a:prstGeom>
        </p:spPr>
        <p:txBody>
          <a:bodyPr anchor="ctr"/>
          <a:lstStyle>
            <a:lvl1pPr marL="0" indent="0" algn="ctr">
              <a:buNone/>
              <a:defRPr sz="9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icon to add picture</a:t>
            </a:r>
            <a:endParaRPr lang="en-GB" dirty="0"/>
          </a:p>
        </p:txBody>
      </p:sp>
    </p:spTree>
    <p:extLst>
      <p:ext uri="{BB962C8B-B14F-4D97-AF65-F5344CB8AC3E}">
        <p14:creationId xmlns:p14="http://schemas.microsoft.com/office/powerpoint/2010/main" val="1554475362"/>
      </p:ext>
    </p:extLst>
  </p:cSld>
  <p:clrMapOvr>
    <a:masterClrMapping/>
  </p:clrMapOvr>
  <p:extLst>
    <p:ext uri="{DCECCB84-F9BA-43D5-87BE-67443E8EF086}">
      <p15:sldGuideLst xmlns:p15="http://schemas.microsoft.com/office/powerpoint/2012/main">
        <p15:guide id="1" orient="horz" pos="288" userDrawn="1">
          <p15:clr>
            <a:srgbClr val="5ACBF0"/>
          </p15:clr>
        </p15:guide>
        <p15:guide id="2" orient="horz" pos="2448" userDrawn="1">
          <p15:clr>
            <a:srgbClr val="5ACBF0"/>
          </p15:clr>
        </p15:guide>
        <p15:guide id="3" pos="674" userDrawn="1">
          <p15:clr>
            <a:srgbClr val="5ACBF0"/>
          </p15:clr>
        </p15:guide>
        <p15:guide id="4" pos="3438" userDrawn="1">
          <p15:clr>
            <a:srgbClr val="5ACBF0"/>
          </p15:clr>
        </p15:guide>
        <p15:guide id="5" pos="3072" userDrawn="1">
          <p15:clr>
            <a:srgbClr val="5ACBF0"/>
          </p15:clr>
        </p15:guide>
        <p15:guide id="6" pos="386" userDrawn="1">
          <p15:clr>
            <a:srgbClr val="5ACBF0"/>
          </p15:clr>
        </p15:guide>
        <p15:guide id="7" orient="horz" pos="3672" userDrawn="1">
          <p15:clr>
            <a:srgbClr val="5ACBF0"/>
          </p15:clr>
        </p15:guide>
        <p15:guide id="8" orient="horz" pos="3992"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05DBF48-2477-4B08-BA4C-045205A65DDD}"/>
              </a:ext>
            </a:extLst>
          </p:cNvPr>
          <p:cNvGraphicFramePr>
            <a:graphicFrameLocks noChangeAspect="1"/>
          </p:cNvGraphicFramePr>
          <p:nvPr userDrawn="1">
            <p:custDataLst>
              <p:tags r:id="rId1"/>
            </p:custDataLst>
            <p:extLst>
              <p:ext uri="{D42A27DB-BD31-4B8C-83A1-F6EECF244321}">
                <p14:modId xmlns:p14="http://schemas.microsoft.com/office/powerpoint/2010/main" val="151147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F05DBF48-2477-4B08-BA4C-045205A65D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0"/>
            <a:ext cx="3997149" cy="6857999"/>
          </a:xfrm>
        </p:spPr>
        <p:txBody>
          <a:bodyPr anchor="ctr">
            <a:normAutofit/>
          </a:bodyPr>
          <a:lstStyle>
            <a:lvl1pPr marL="0" indent="0" algn="ctr">
              <a:buNone/>
              <a:defRPr sz="1400">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icon to add picture</a:t>
            </a:r>
            <a:endParaRPr lang="en-IN" dirty="0"/>
          </a:p>
        </p:txBody>
      </p:sp>
      <p:sp>
        <p:nvSpPr>
          <p:cNvPr id="2" name="Title 1"/>
          <p:cNvSpPr>
            <a:spLocks noGrp="1"/>
          </p:cNvSpPr>
          <p:nvPr>
            <p:ph type="title"/>
          </p:nvPr>
        </p:nvSpPr>
        <p:spPr>
          <a:xfrm>
            <a:off x="609601" y="294200"/>
            <a:ext cx="7440547" cy="590400"/>
          </a:xfrm>
        </p:spPr>
        <p:txBody>
          <a:bodyPr vert="horz"/>
          <a:lstStyle>
            <a:lvl1pPr>
              <a:defRPr sz="2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normAutofit/>
          </a:bodyPr>
          <a:lstStyle>
            <a:lvl1pPr marL="0" indent="0">
              <a:buNone/>
              <a:defRPr sz="1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1" y="4336025"/>
            <a:ext cx="3578253" cy="1844856"/>
          </a:xfrm>
        </p:spPr>
        <p:txBody>
          <a:bodyPr numCol="1"/>
          <a:lstStyle>
            <a:lvl1pPr marL="0" indent="0">
              <a:buNone/>
              <a:defRPr sz="1799">
                <a:solidFill>
                  <a:schemeClr val="bg1"/>
                </a:solidFill>
                <a:latin typeface="Georgia" panose="02040502050405020303" pitchFamily="18"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Text Placeholder 11">
            <a:extLst>
              <a:ext uri="{FF2B5EF4-FFF2-40B4-BE49-F238E27FC236}">
                <a16:creationId xmlns:a16="http://schemas.microsoft.com/office/drawing/2014/main" id="{52AFB1E9-05EF-4B42-880A-4A8E403D729E}"/>
              </a:ext>
            </a:extLst>
          </p:cNvPr>
          <p:cNvSpPr>
            <a:spLocks noGrp="1"/>
          </p:cNvSpPr>
          <p:nvPr>
            <p:ph type="body" sz="quarter" idx="14" hasCustomPrompt="1"/>
          </p:nvPr>
        </p:nvSpPr>
        <p:spPr>
          <a:xfrm>
            <a:off x="615366" y="6426589"/>
            <a:ext cx="7308000"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25331840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17B0AE-A44B-481C-8D66-28FD50DB971C}"/>
              </a:ext>
            </a:extLst>
          </p:cNvPr>
          <p:cNvGraphicFramePr>
            <a:graphicFrameLocks noChangeAspect="1"/>
          </p:cNvGraphicFramePr>
          <p:nvPr userDrawn="1">
            <p:custDataLst>
              <p:tags r:id="rId1"/>
            </p:custDataLst>
            <p:extLst>
              <p:ext uri="{D42A27DB-BD31-4B8C-83A1-F6EECF244321}">
                <p14:modId xmlns:p14="http://schemas.microsoft.com/office/powerpoint/2010/main" val="315757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0F17B0AE-A44B-481C-8D66-28FD50DB97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cs typeface="Arial" panose="020B0604020202020204" pitchFamily="34" charset="0"/>
                <a:sym typeface="EYInterstate Light" panose="02000506000000020004" pitchFamily="2" charset="0"/>
              </a:defRPr>
            </a:lvl1pPr>
          </a:lstStyle>
          <a:p>
            <a:pPr marL="356438" lvl="0" indent="-356438"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EYInterstate Light" panose="02000506000000020004" pitchFamily="2" charset="0"/>
                <a:cs typeface="Arial" panose="020B0604020202020204" pitchFamily="34" charset="0"/>
                <a:sym typeface="EYInterstate Light" panose="02000506000000020004" pitchFamily="2" charset="0"/>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accent1"/>
                </a:solidFill>
                <a:latin typeface="Georgia" panose="02040502050405020303" pitchFamily="18" charset="0"/>
                <a:cs typeface="Arial" panose="020B0604020202020204" pitchFamily="34" charset="0"/>
                <a:sym typeface="EYInterstate Light" panose="02000506000000020004" pitchFamily="2" charset="0"/>
              </a:rPr>
              <a:t>“ </a:t>
            </a:r>
          </a:p>
        </p:txBody>
      </p:sp>
      <p:sp>
        <p:nvSpPr>
          <p:cNvPr id="7" name="Text Placeholder 11">
            <a:extLst>
              <a:ext uri="{FF2B5EF4-FFF2-40B4-BE49-F238E27FC236}">
                <a16:creationId xmlns:a16="http://schemas.microsoft.com/office/drawing/2014/main" id="{0040B4C7-3762-489A-85E3-336DDA7B2849}"/>
              </a:ext>
            </a:extLst>
          </p:cNvPr>
          <p:cNvSpPr>
            <a:spLocks noGrp="1"/>
          </p:cNvSpPr>
          <p:nvPr>
            <p:ph type="body" sz="quarter" idx="13"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4184756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1ED95E-4177-4AEB-AF37-4B6C36D98260}"/>
              </a:ext>
            </a:extLst>
          </p:cNvPr>
          <p:cNvGraphicFramePr>
            <a:graphicFrameLocks noChangeAspect="1"/>
          </p:cNvGraphicFramePr>
          <p:nvPr userDrawn="1">
            <p:custDataLst>
              <p:tags r:id="rId1"/>
            </p:custDataLst>
            <p:extLst>
              <p:ext uri="{D42A27DB-BD31-4B8C-83A1-F6EECF244321}">
                <p14:modId xmlns:p14="http://schemas.microsoft.com/office/powerpoint/2010/main" val="232647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C1ED95E-4177-4AEB-AF37-4B6C36D982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B30B0BE-2FEC-4894-BC63-F42BCF5A5EE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176" y="0"/>
            <a:ext cx="12188824" cy="6858000"/>
          </a:xfrm>
          <a:prstGeom prst="rect">
            <a:avLst/>
          </a:prstGeom>
        </p:spPr>
      </p:pic>
      <p:sp>
        <p:nvSpPr>
          <p:cNvPr id="11" name="TextBox 10">
            <a:extLst>
              <a:ext uri="{FF2B5EF4-FFF2-40B4-BE49-F238E27FC236}">
                <a16:creationId xmlns:a16="http://schemas.microsoft.com/office/drawing/2014/main" id="{8ABD85C8-B927-47CD-9791-8FA67BF1ACCE}"/>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t>Page </a:t>
            </a:r>
            <a:fld id="{9AE4D82F-B047-469B-AC52-A46321747EAF}" type="slidenum">
              <a:rPr lang="en-GB" sz="700" smtClean="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12" name="Group 11">
            <a:extLst>
              <a:ext uri="{FF2B5EF4-FFF2-40B4-BE49-F238E27FC236}">
                <a16:creationId xmlns:a16="http://schemas.microsoft.com/office/drawing/2014/main" id="{6CF600DF-5D09-4A03-9D19-35BFA12F3785}"/>
              </a:ext>
            </a:extLst>
          </p:cNvPr>
          <p:cNvGrpSpPr/>
          <p:nvPr userDrawn="1"/>
        </p:nvGrpSpPr>
        <p:grpSpPr>
          <a:xfrm>
            <a:off x="10624714" y="6367519"/>
            <a:ext cx="955115" cy="308551"/>
            <a:chOff x="2703513" y="2332038"/>
            <a:chExt cx="6784975" cy="2190751"/>
          </a:xfrm>
        </p:grpSpPr>
        <p:sp>
          <p:nvSpPr>
            <p:cNvPr id="13" name="Freeform 115">
              <a:extLst>
                <a:ext uri="{FF2B5EF4-FFF2-40B4-BE49-F238E27FC236}">
                  <a16:creationId xmlns:a16="http://schemas.microsoft.com/office/drawing/2014/main" id="{EEA3AAE4-7A1B-4212-8F16-0A45499399FE}"/>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Freeform 116">
              <a:extLst>
                <a:ext uri="{FF2B5EF4-FFF2-40B4-BE49-F238E27FC236}">
                  <a16:creationId xmlns:a16="http://schemas.microsoft.com/office/drawing/2014/main" id="{244337A6-69E3-4257-A7E4-14EAD6798F1A}"/>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Freeform 117">
              <a:extLst>
                <a:ext uri="{FF2B5EF4-FFF2-40B4-BE49-F238E27FC236}">
                  <a16:creationId xmlns:a16="http://schemas.microsoft.com/office/drawing/2014/main" id="{BA7159C9-82F2-4501-A6AE-9591C1F1DB2C}"/>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6" name="Freeform 118">
              <a:extLst>
                <a:ext uri="{FF2B5EF4-FFF2-40B4-BE49-F238E27FC236}">
                  <a16:creationId xmlns:a16="http://schemas.microsoft.com/office/drawing/2014/main" id="{6AAC195B-8E6C-405A-9BB1-9D981F8D1888}"/>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7" name="Freeform 119">
              <a:extLst>
                <a:ext uri="{FF2B5EF4-FFF2-40B4-BE49-F238E27FC236}">
                  <a16:creationId xmlns:a16="http://schemas.microsoft.com/office/drawing/2014/main" id="{C10A56E6-10F7-4061-B074-B082E8E030BB}"/>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Freeform 120">
              <a:extLst>
                <a:ext uri="{FF2B5EF4-FFF2-40B4-BE49-F238E27FC236}">
                  <a16:creationId xmlns:a16="http://schemas.microsoft.com/office/drawing/2014/main" id="{4C10AE8A-F00F-4D88-A56A-124933A3BDF2}"/>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9" name="Freeform 121">
              <a:extLst>
                <a:ext uri="{FF2B5EF4-FFF2-40B4-BE49-F238E27FC236}">
                  <a16:creationId xmlns:a16="http://schemas.microsoft.com/office/drawing/2014/main" id="{C23018BD-CD7B-4D34-B198-A77173E976BF}"/>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0" name="Freeform 122">
              <a:extLst>
                <a:ext uri="{FF2B5EF4-FFF2-40B4-BE49-F238E27FC236}">
                  <a16:creationId xmlns:a16="http://schemas.microsoft.com/office/drawing/2014/main" id="{24A5F510-84FF-49EE-909E-D12492133849}"/>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1" name="Freeform 123">
              <a:extLst>
                <a:ext uri="{FF2B5EF4-FFF2-40B4-BE49-F238E27FC236}">
                  <a16:creationId xmlns:a16="http://schemas.microsoft.com/office/drawing/2014/main" id="{C79643A1-43AB-49E4-AF0D-E1FF1F296874}"/>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2" name="Freeform 124">
              <a:extLst>
                <a:ext uri="{FF2B5EF4-FFF2-40B4-BE49-F238E27FC236}">
                  <a16:creationId xmlns:a16="http://schemas.microsoft.com/office/drawing/2014/main" id="{7C44A209-2245-44D5-B77C-FFCCD06C9AC7}"/>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3" name="Freeform 125">
              <a:extLst>
                <a:ext uri="{FF2B5EF4-FFF2-40B4-BE49-F238E27FC236}">
                  <a16:creationId xmlns:a16="http://schemas.microsoft.com/office/drawing/2014/main" id="{33E0F576-DD59-4446-AF48-EC5215D8AC08}"/>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accent1"/>
                </a:solidFill>
                <a:latin typeface="Georgia" panose="02040502050405020303" pitchFamily="18" charset="0"/>
                <a:cs typeface="Arial" panose="020B0604020202020204" pitchFamily="34" charset="0"/>
                <a:sym typeface="EYInterstate Light" panose="02000506000000020004" pitchFamily="2"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solidFill>
                  <a:srgbClr val="2E2E38"/>
                </a:solidFill>
                <a:latin typeface="Georgia" panose="02040502050405020303" pitchFamily="18" charset="0"/>
                <a:cs typeface="Arial" panose="020B0604020202020204" pitchFamily="34" charset="0"/>
                <a:sym typeface="EYInterstate Light" panose="02000506000000020004" pitchFamily="2" charset="0"/>
              </a:defRPr>
            </a:lvl1pPr>
          </a:lstStyle>
          <a:p>
            <a:pPr marL="356438" lvl="0" indent="-356438">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accent1"/>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
        <p:nvSpPr>
          <p:cNvPr id="24" name="Text Placeholder 11">
            <a:extLst>
              <a:ext uri="{FF2B5EF4-FFF2-40B4-BE49-F238E27FC236}">
                <a16:creationId xmlns:a16="http://schemas.microsoft.com/office/drawing/2014/main" id="{9288DDE2-73AB-41DD-AC2B-08A1552186F2}"/>
              </a:ext>
            </a:extLst>
          </p:cNvPr>
          <p:cNvSpPr>
            <a:spLocks noGrp="1"/>
          </p:cNvSpPr>
          <p:nvPr>
            <p:ph type="body" sz="quarter" idx="13"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12211975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4E747B-BCBC-488F-B9A1-1ADB2F4A8FE7}"/>
              </a:ext>
            </a:extLst>
          </p:cNvPr>
          <p:cNvGraphicFramePr>
            <a:graphicFrameLocks noChangeAspect="1"/>
          </p:cNvGraphicFramePr>
          <p:nvPr userDrawn="1">
            <p:custDataLst>
              <p:tags r:id="rId1"/>
            </p:custDataLst>
            <p:extLst>
              <p:ext uri="{D42A27DB-BD31-4B8C-83A1-F6EECF244321}">
                <p14:modId xmlns:p14="http://schemas.microsoft.com/office/powerpoint/2010/main" val="89379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94E747B-BCBC-488F-B9A1-1ADB2F4A8F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nchor="ctr">
            <a:normAutofit/>
          </a:bodyPr>
          <a:lstStyle>
            <a:lvl1pPr marL="0" indent="0" algn="ctr">
              <a:buNone/>
              <a:defRPr sz="1400">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icon to add picture</a:t>
            </a:r>
            <a:endParaRPr lang="en-IN" dirty="0"/>
          </a:p>
        </p:txBody>
      </p:sp>
      <p:sp>
        <p:nvSpPr>
          <p:cNvPr id="2" name="Title 1"/>
          <p:cNvSpPr>
            <a:spLocks noGrp="1"/>
          </p:cNvSpPr>
          <p:nvPr>
            <p:ph type="title"/>
          </p:nvPr>
        </p:nvSpPr>
        <p:spPr>
          <a:xfrm>
            <a:off x="2693891" y="294200"/>
            <a:ext cx="8887371" cy="590400"/>
          </a:xfrm>
        </p:spPr>
        <p:txBody>
          <a:bodyPr vert="horz"/>
          <a:lstStyle>
            <a:lvl1pPr>
              <a:defRPr sz="2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normAutofit/>
          </a:bodyPr>
          <a:lstStyle>
            <a:lvl1pPr marL="0" indent="0">
              <a:buNone/>
              <a:defRPr sz="1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Text Placeholder 11">
            <a:extLst>
              <a:ext uri="{FF2B5EF4-FFF2-40B4-BE49-F238E27FC236}">
                <a16:creationId xmlns:a16="http://schemas.microsoft.com/office/drawing/2014/main" id="{94B2C763-B812-47DF-A163-488FEF13EB54}"/>
              </a:ext>
            </a:extLst>
          </p:cNvPr>
          <p:cNvSpPr>
            <a:spLocks noGrp="1"/>
          </p:cNvSpPr>
          <p:nvPr>
            <p:ph type="body" sz="quarter" idx="13" hasCustomPrompt="1"/>
          </p:nvPr>
        </p:nvSpPr>
        <p:spPr>
          <a:xfrm>
            <a:off x="2693890" y="6426589"/>
            <a:ext cx="5785818"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4166010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content slide with legen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FAB4E20-55CB-4158-A9C8-7325E8F44632}"/>
              </a:ext>
            </a:extLst>
          </p:cNvPr>
          <p:cNvGraphicFramePr>
            <a:graphicFrameLocks noChangeAspect="1"/>
          </p:cNvGraphicFramePr>
          <p:nvPr userDrawn="1">
            <p:custDataLst>
              <p:tags r:id="rId1"/>
            </p:custDataLst>
            <p:extLst>
              <p:ext uri="{D42A27DB-BD31-4B8C-83A1-F6EECF244321}">
                <p14:modId xmlns:p14="http://schemas.microsoft.com/office/powerpoint/2010/main" val="176613102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ct 9" hidden="1">
                        <a:extLst>
                          <a:ext uri="{FF2B5EF4-FFF2-40B4-BE49-F238E27FC236}">
                            <a16:creationId xmlns:a16="http://schemas.microsoft.com/office/drawing/2014/main" id="{BFAB4E20-55CB-4158-A9C8-7325E8F4463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cxnSp>
        <p:nvCxnSpPr>
          <p:cNvPr id="11" name="Straight Connector 10">
            <a:extLst>
              <a:ext uri="{FF2B5EF4-FFF2-40B4-BE49-F238E27FC236}">
                <a16:creationId xmlns:a16="http://schemas.microsoft.com/office/drawing/2014/main" id="{50CDECC1-E57A-4567-AA87-257E48E61EC5}"/>
              </a:ext>
            </a:extLst>
          </p:cNvPr>
          <p:cNvCxnSpPr/>
          <p:nvPr userDrawn="1"/>
        </p:nvCxnSpPr>
        <p:spPr>
          <a:xfrm>
            <a:off x="9520244" y="124522"/>
            <a:ext cx="0" cy="777240"/>
          </a:xfrm>
          <a:prstGeom prst="line">
            <a:avLst/>
          </a:prstGeom>
          <a:noFill/>
          <a:ln w="19050">
            <a:solidFill>
              <a:schemeClr val="accent1"/>
            </a:solidFill>
            <a:round/>
            <a:headEnd/>
            <a:tailEnd/>
          </a:ln>
          <a:effectLst/>
        </p:spPr>
      </p:cxnSp>
      <p:sp>
        <p:nvSpPr>
          <p:cNvPr id="8" name="Text Placeholder 11">
            <a:extLst>
              <a:ext uri="{FF2B5EF4-FFF2-40B4-BE49-F238E27FC236}">
                <a16:creationId xmlns:a16="http://schemas.microsoft.com/office/drawing/2014/main" id="{AF449631-6A7B-42D6-8E2D-AF5552842539}"/>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9" name="Text Placeholder 3">
            <a:extLst>
              <a:ext uri="{FF2B5EF4-FFF2-40B4-BE49-F238E27FC236}">
                <a16:creationId xmlns:a16="http://schemas.microsoft.com/office/drawing/2014/main" id="{B1E084A7-6134-4EBA-9335-0C9D2B2FB1BB}"/>
              </a:ext>
            </a:extLst>
          </p:cNvPr>
          <p:cNvSpPr>
            <a:spLocks noGrp="1"/>
          </p:cNvSpPr>
          <p:nvPr>
            <p:ph type="body" sz="quarter" idx="12"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3" name="Title 1">
            <a:extLst>
              <a:ext uri="{FF2B5EF4-FFF2-40B4-BE49-F238E27FC236}">
                <a16:creationId xmlns:a16="http://schemas.microsoft.com/office/drawing/2014/main" id="{7EA3EFE9-3E49-4AB3-A1E2-5C5AF8F953FA}"/>
              </a:ext>
            </a:extLst>
          </p:cNvPr>
          <p:cNvSpPr>
            <a:spLocks noGrp="1"/>
          </p:cNvSpPr>
          <p:nvPr>
            <p:ph type="title"/>
          </p:nvPr>
        </p:nvSpPr>
        <p:spPr>
          <a:xfrm>
            <a:off x="612648" y="294200"/>
            <a:ext cx="8780978" cy="590400"/>
          </a:xfrm>
        </p:spPr>
        <p:txBody>
          <a:bodyPr vert="horz"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14" name="Text Placeholder 2">
            <a:extLst>
              <a:ext uri="{FF2B5EF4-FFF2-40B4-BE49-F238E27FC236}">
                <a16:creationId xmlns:a16="http://schemas.microsoft.com/office/drawing/2014/main" id="{4D84D6EE-45EF-43C9-A207-B04B915A4FDD}"/>
              </a:ext>
            </a:extLst>
          </p:cNvPr>
          <p:cNvSpPr>
            <a:spLocks noGrp="1"/>
          </p:cNvSpPr>
          <p:nvPr>
            <p:ph idx="1"/>
          </p:nvPr>
        </p:nvSpPr>
        <p:spPr>
          <a:xfrm>
            <a:off x="612455" y="1280160"/>
            <a:ext cx="10972800" cy="4892040"/>
          </a:xfrm>
          <a:prstGeom prst="rect">
            <a:avLst/>
          </a:prstGeom>
        </p:spPr>
        <p:txBody>
          <a:bodyPr vert="horz" lIns="0" tIns="0" rIns="0" bIns="0" rtlCol="0" anchor="t" anchorCtr="0">
            <a:noAutofit/>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5">
            <a:extLst>
              <a:ext uri="{FF2B5EF4-FFF2-40B4-BE49-F238E27FC236}">
                <a16:creationId xmlns:a16="http://schemas.microsoft.com/office/drawing/2014/main" id="{9FDA24A4-F7E1-4485-AE17-052E4CEA206E}"/>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7" name="Text Placeholder 4">
            <a:extLst>
              <a:ext uri="{FF2B5EF4-FFF2-40B4-BE49-F238E27FC236}">
                <a16:creationId xmlns:a16="http://schemas.microsoft.com/office/drawing/2014/main" id="{41996F16-5A46-4733-9D64-BE3ADB46AB4B}"/>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1686014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165835789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 name="Text Placeholder 11">
            <a:extLst>
              <a:ext uri="{FF2B5EF4-FFF2-40B4-BE49-F238E27FC236}">
                <a16:creationId xmlns:a16="http://schemas.microsoft.com/office/drawing/2014/main" id="{0FFBA4B5-A327-4F72-AB49-99A26678427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7" name="Text Placeholder 3">
            <a:extLst>
              <a:ext uri="{FF2B5EF4-FFF2-40B4-BE49-F238E27FC236}">
                <a16:creationId xmlns:a16="http://schemas.microsoft.com/office/drawing/2014/main" id="{C942723E-0EBE-4945-B177-E365F38BDAC3}"/>
              </a:ext>
            </a:extLst>
          </p:cNvPr>
          <p:cNvSpPr>
            <a:spLocks noGrp="1"/>
          </p:cNvSpPr>
          <p:nvPr>
            <p:ph type="body" sz="quarter" idx="12"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9" name="Title 1">
            <a:extLst>
              <a:ext uri="{FF2B5EF4-FFF2-40B4-BE49-F238E27FC236}">
                <a16:creationId xmlns:a16="http://schemas.microsoft.com/office/drawing/2014/main" id="{AE511FA7-240C-4EFF-A9D2-BE7EB321A639}"/>
              </a:ext>
            </a:extLst>
          </p:cNvPr>
          <p:cNvSpPr>
            <a:spLocks noGrp="1"/>
          </p:cNvSpPr>
          <p:nvPr>
            <p:ph type="title"/>
          </p:nvPr>
        </p:nvSpPr>
        <p:spPr>
          <a:xfrm>
            <a:off x="612648" y="294200"/>
            <a:ext cx="10967088" cy="590400"/>
          </a:xfrm>
        </p:spPr>
        <p:txBody>
          <a:bodyPr vert="horz"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11" name="Text Placeholder 5">
            <a:extLst>
              <a:ext uri="{FF2B5EF4-FFF2-40B4-BE49-F238E27FC236}">
                <a16:creationId xmlns:a16="http://schemas.microsoft.com/office/drawing/2014/main" id="{ED35897D-21AE-4A20-9C6E-757E1677C6EA}"/>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3" name="Text Placeholder 4">
            <a:extLst>
              <a:ext uri="{FF2B5EF4-FFF2-40B4-BE49-F238E27FC236}">
                <a16:creationId xmlns:a16="http://schemas.microsoft.com/office/drawing/2014/main" id="{E3BB3619-8007-4BE8-A747-52C83D8ED652}"/>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2782527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208724796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 name="Text Placeholder 11">
            <a:extLst>
              <a:ext uri="{FF2B5EF4-FFF2-40B4-BE49-F238E27FC236}">
                <a16:creationId xmlns:a16="http://schemas.microsoft.com/office/drawing/2014/main" id="{0FFBA4B5-A327-4F72-AB49-99A26678427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9" name="Title 1">
            <a:extLst>
              <a:ext uri="{FF2B5EF4-FFF2-40B4-BE49-F238E27FC236}">
                <a16:creationId xmlns:a16="http://schemas.microsoft.com/office/drawing/2014/main" id="{AE511FA7-240C-4EFF-A9D2-BE7EB321A639}"/>
              </a:ext>
            </a:extLst>
          </p:cNvPr>
          <p:cNvSpPr>
            <a:spLocks noGrp="1"/>
          </p:cNvSpPr>
          <p:nvPr>
            <p:ph type="title"/>
          </p:nvPr>
        </p:nvSpPr>
        <p:spPr>
          <a:xfrm>
            <a:off x="612648" y="294200"/>
            <a:ext cx="10967088" cy="590400"/>
          </a:xfrm>
        </p:spPr>
        <p:txBody>
          <a:bodyPr vert="horz"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Tree>
    <p:extLst>
      <p:ext uri="{BB962C8B-B14F-4D97-AF65-F5344CB8AC3E}">
        <p14:creationId xmlns:p14="http://schemas.microsoft.com/office/powerpoint/2010/main" val="796538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legen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225040977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0244" y="124522"/>
            <a:ext cx="0" cy="777240"/>
          </a:xfrm>
          <a:prstGeom prst="line">
            <a:avLst/>
          </a:prstGeom>
          <a:noFill/>
          <a:ln w="19050">
            <a:solidFill>
              <a:schemeClr val="accent1"/>
            </a:solidFill>
            <a:round/>
            <a:headEnd/>
            <a:tailEnd/>
          </a:ln>
          <a:effectLst/>
        </p:spPr>
      </p:cxnSp>
      <p:sp>
        <p:nvSpPr>
          <p:cNvPr id="9" name="Text Placeholder 11">
            <a:extLst>
              <a:ext uri="{FF2B5EF4-FFF2-40B4-BE49-F238E27FC236}">
                <a16:creationId xmlns:a16="http://schemas.microsoft.com/office/drawing/2014/main" id="{4A4F9E13-A71D-43A8-99E2-FD84042010EF}"/>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0" name="Text Placeholder 3">
            <a:extLst>
              <a:ext uri="{FF2B5EF4-FFF2-40B4-BE49-F238E27FC236}">
                <a16:creationId xmlns:a16="http://schemas.microsoft.com/office/drawing/2014/main" id="{F411C568-B142-4EA7-A801-D671F2A8AD4F}"/>
              </a:ext>
            </a:extLst>
          </p:cNvPr>
          <p:cNvSpPr>
            <a:spLocks noGrp="1"/>
          </p:cNvSpPr>
          <p:nvPr>
            <p:ph type="body" sz="quarter" idx="12"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1" name="Title 1">
            <a:extLst>
              <a:ext uri="{FF2B5EF4-FFF2-40B4-BE49-F238E27FC236}">
                <a16:creationId xmlns:a16="http://schemas.microsoft.com/office/drawing/2014/main" id="{3F17EFA2-B211-4069-948B-DF6A95A67690}"/>
              </a:ext>
            </a:extLst>
          </p:cNvPr>
          <p:cNvSpPr>
            <a:spLocks noGrp="1"/>
          </p:cNvSpPr>
          <p:nvPr>
            <p:ph type="title"/>
          </p:nvPr>
        </p:nvSpPr>
        <p:spPr>
          <a:xfrm>
            <a:off x="612648" y="294200"/>
            <a:ext cx="8777158" cy="590400"/>
          </a:xfrm>
        </p:spPr>
        <p:txBody>
          <a:bodyPr vert="horz"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13" name="Text Placeholder 2">
            <a:extLst>
              <a:ext uri="{FF2B5EF4-FFF2-40B4-BE49-F238E27FC236}">
                <a16:creationId xmlns:a16="http://schemas.microsoft.com/office/drawing/2014/main" id="{5538CDC8-A6CA-4757-92E0-8E5FDD16B123}"/>
              </a:ext>
            </a:extLst>
          </p:cNvPr>
          <p:cNvSpPr>
            <a:spLocks noGrp="1"/>
          </p:cNvSpPr>
          <p:nvPr>
            <p:ph idx="1"/>
          </p:nvPr>
        </p:nvSpPr>
        <p:spPr>
          <a:xfrm>
            <a:off x="615367" y="1280160"/>
            <a:ext cx="10972800" cy="4892040"/>
          </a:xfrm>
          <a:prstGeom prst="rect">
            <a:avLst/>
          </a:prstGeom>
        </p:spPr>
        <p:txBody>
          <a:bodyPr vert="horz" lIns="0" tIns="0" rIns="0" bIns="0" rtlCol="0" anchor="t" anchorCtr="0">
            <a:noAutofit/>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5">
            <a:extLst>
              <a:ext uri="{FF2B5EF4-FFF2-40B4-BE49-F238E27FC236}">
                <a16:creationId xmlns:a16="http://schemas.microsoft.com/office/drawing/2014/main" id="{83987280-AE9A-4651-9C3E-6E46E7F877C1}"/>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5" name="Text Placeholder 4">
            <a:extLst>
              <a:ext uri="{FF2B5EF4-FFF2-40B4-BE49-F238E27FC236}">
                <a16:creationId xmlns:a16="http://schemas.microsoft.com/office/drawing/2014/main" id="{0055F5CE-E1CB-42DE-9A89-447DDC7368B9}"/>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41466308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lumns, no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2C83294-F8B0-4B1F-A5AB-C4CBA935DB45}"/>
              </a:ext>
            </a:extLst>
          </p:cNvPr>
          <p:cNvGraphicFramePr>
            <a:graphicFrameLocks noChangeAspect="1"/>
          </p:cNvGraphicFramePr>
          <p:nvPr userDrawn="1">
            <p:custDataLst>
              <p:tags r:id="rId1"/>
            </p:custDataLst>
            <p:extLst>
              <p:ext uri="{D42A27DB-BD31-4B8C-83A1-F6EECF244321}">
                <p14:modId xmlns:p14="http://schemas.microsoft.com/office/powerpoint/2010/main" val="145362428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72C83294-F8B0-4B1F-A5AB-C4CBA935DB45}"/>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 name="Content Placeholder 5">
            <a:extLst>
              <a:ext uri="{FF2B5EF4-FFF2-40B4-BE49-F238E27FC236}">
                <a16:creationId xmlns:a16="http://schemas.microsoft.com/office/drawing/2014/main" id="{4BED59E2-CA91-44BE-89A9-94B8D43C6BD7}"/>
              </a:ext>
            </a:extLst>
          </p:cNvPr>
          <p:cNvSpPr>
            <a:spLocks noGrp="1"/>
          </p:cNvSpPr>
          <p:nvPr>
            <p:ph sz="quarter" idx="12"/>
          </p:nvPr>
        </p:nvSpPr>
        <p:spPr>
          <a:xfrm>
            <a:off x="612329" y="1280160"/>
            <a:ext cx="5383012" cy="4892040"/>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39C08EDD-92E7-4C7E-8613-CE62088547B0}"/>
              </a:ext>
            </a:extLst>
          </p:cNvPr>
          <p:cNvSpPr>
            <a:spLocks noGrp="1"/>
          </p:cNvSpPr>
          <p:nvPr>
            <p:ph sz="quarter" idx="13"/>
          </p:nvPr>
        </p:nvSpPr>
        <p:spPr>
          <a:xfrm>
            <a:off x="6196405" y="1280160"/>
            <a:ext cx="5383012" cy="4892040"/>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9DBDE0D6-7490-4BB5-95A3-FFF7D0676053}"/>
              </a:ext>
            </a:extLst>
          </p:cNvPr>
          <p:cNvSpPr>
            <a:spLocks noGrp="1"/>
          </p:cNvSpPr>
          <p:nvPr>
            <p:ph type="title"/>
          </p:nvPr>
        </p:nvSpPr>
        <p:spPr/>
        <p:txBody>
          <a:bodyPr vert="horz"/>
          <a:lstStyle>
            <a:lvl1pPr>
              <a:defRPr>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5736B0DF-8A79-4530-91E3-DC3CBD64AA8C}"/>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4" name="Text Placeholder 3">
            <a:extLst>
              <a:ext uri="{FF2B5EF4-FFF2-40B4-BE49-F238E27FC236}">
                <a16:creationId xmlns:a16="http://schemas.microsoft.com/office/drawing/2014/main" id="{425E2894-B908-4D1C-806C-20FAD8D0719E}"/>
              </a:ext>
            </a:extLst>
          </p:cNvPr>
          <p:cNvSpPr>
            <a:spLocks noGrp="1"/>
          </p:cNvSpPr>
          <p:nvPr>
            <p:ph type="body" sz="quarter" idx="14"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6" name="Text Placeholder 5">
            <a:extLst>
              <a:ext uri="{FF2B5EF4-FFF2-40B4-BE49-F238E27FC236}">
                <a16:creationId xmlns:a16="http://schemas.microsoft.com/office/drawing/2014/main" id="{10160B55-AD1C-43C4-87B6-5B2417D5FB06}"/>
              </a:ext>
            </a:extLst>
          </p:cNvPr>
          <p:cNvSpPr>
            <a:spLocks noGrp="1"/>
          </p:cNvSpPr>
          <p:nvPr>
            <p:ph type="body" sz="quarter" idx="15"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7" name="Text Placeholder 4">
            <a:extLst>
              <a:ext uri="{FF2B5EF4-FFF2-40B4-BE49-F238E27FC236}">
                <a16:creationId xmlns:a16="http://schemas.microsoft.com/office/drawing/2014/main" id="{238A7751-F55F-4417-BA56-1C6397A9CA0E}"/>
              </a:ext>
            </a:extLst>
          </p:cNvPr>
          <p:cNvSpPr>
            <a:spLocks noGrp="1"/>
          </p:cNvSpPr>
          <p:nvPr>
            <p:ph type="body" sz="quarter" idx="16"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10833648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wo columns with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9BB72A6-72CD-4572-A1F1-00BA1D091E1D}"/>
              </a:ext>
            </a:extLst>
          </p:cNvPr>
          <p:cNvGraphicFramePr>
            <a:graphicFrameLocks noChangeAspect="1"/>
          </p:cNvGraphicFramePr>
          <p:nvPr userDrawn="1">
            <p:custDataLst>
              <p:tags r:id="rId1"/>
            </p:custDataLst>
            <p:extLst>
              <p:ext uri="{D42A27DB-BD31-4B8C-83A1-F6EECF244321}">
                <p14:modId xmlns:p14="http://schemas.microsoft.com/office/powerpoint/2010/main" val="246622863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29BB72A6-72CD-4572-A1F1-00BA1D091E1D}"/>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10" name="Text Placeholder 9"/>
          <p:cNvSpPr>
            <a:spLocks noGrp="1"/>
          </p:cNvSpPr>
          <p:nvPr>
            <p:ph type="body" sz="quarter" idx="12"/>
          </p:nvPr>
        </p:nvSpPr>
        <p:spPr>
          <a:xfrm>
            <a:off x="609601" y="1280160"/>
            <a:ext cx="5390400" cy="521420"/>
          </a:xfrm>
          <a:prstGeom prst="rect">
            <a:avLst/>
          </a:prstGeom>
        </p:spPr>
        <p:txBody>
          <a:bodyPr anchor="t" anchorCtr="0"/>
          <a:lstStyle>
            <a:lvl1pPr>
              <a:buNone/>
              <a:defRPr b="1">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a:t>Click to edit Master text styles</a:t>
            </a:r>
          </a:p>
        </p:txBody>
      </p:sp>
      <p:sp>
        <p:nvSpPr>
          <p:cNvPr id="11" name="Text Placeholder 9"/>
          <p:cNvSpPr>
            <a:spLocks noGrp="1"/>
          </p:cNvSpPr>
          <p:nvPr>
            <p:ph type="body" sz="quarter" idx="13"/>
          </p:nvPr>
        </p:nvSpPr>
        <p:spPr>
          <a:xfrm>
            <a:off x="6196405" y="1280160"/>
            <a:ext cx="5390400" cy="521420"/>
          </a:xfrm>
          <a:prstGeom prst="rect">
            <a:avLst/>
          </a:prstGeom>
        </p:spPr>
        <p:txBody>
          <a:bodyPr anchor="t" anchorCtr="0"/>
          <a:lstStyle>
            <a:lvl1pPr>
              <a:buNone/>
              <a:defRPr b="1">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a:t>Click to edit Master text styles</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 name="Content Placeholder 5">
            <a:extLst>
              <a:ext uri="{FF2B5EF4-FFF2-40B4-BE49-F238E27FC236}">
                <a16:creationId xmlns:a16="http://schemas.microsoft.com/office/drawing/2014/main" id="{89FD2FA1-1D72-4C9D-B232-3D894E70942D}"/>
              </a:ext>
            </a:extLst>
          </p:cNvPr>
          <p:cNvSpPr>
            <a:spLocks noGrp="1"/>
          </p:cNvSpPr>
          <p:nvPr>
            <p:ph sz="quarter" idx="14"/>
          </p:nvPr>
        </p:nvSpPr>
        <p:spPr>
          <a:xfrm>
            <a:off x="612329" y="1865376"/>
            <a:ext cx="5392152" cy="4306824"/>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25A44B7A-91C2-45A4-88E0-9B50E8A1555B}"/>
              </a:ext>
            </a:extLst>
          </p:cNvPr>
          <p:cNvSpPr>
            <a:spLocks noGrp="1"/>
          </p:cNvSpPr>
          <p:nvPr>
            <p:ph sz="quarter" idx="15"/>
          </p:nvPr>
        </p:nvSpPr>
        <p:spPr>
          <a:xfrm>
            <a:off x="6196404" y="1865376"/>
            <a:ext cx="5392152" cy="4306824"/>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C7F020F7-4E26-41CB-9046-A4FEA17C48D4}"/>
              </a:ext>
            </a:extLst>
          </p:cNvPr>
          <p:cNvSpPr>
            <a:spLocks noGrp="1"/>
          </p:cNvSpPr>
          <p:nvPr>
            <p:ph type="title"/>
          </p:nvPr>
        </p:nvSpPr>
        <p:spPr/>
        <p:txBody>
          <a:bodyPr vert="horz"/>
          <a:lstStyle>
            <a:lvl1pPr>
              <a:defRPr>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p>
        </p:txBody>
      </p:sp>
      <p:sp>
        <p:nvSpPr>
          <p:cNvPr id="15" name="Title 11">
            <a:extLst>
              <a:ext uri="{FF2B5EF4-FFF2-40B4-BE49-F238E27FC236}">
                <a16:creationId xmlns:a16="http://schemas.microsoft.com/office/drawing/2014/main" id="{1AACCC70-10D6-49E6-B3EF-42D81E63D27E}"/>
              </a:ext>
            </a:extLst>
          </p:cNvPr>
          <p:cNvSpPr txBox="1">
            <a:spLocks/>
          </p:cNvSpPr>
          <p:nvPr userDrawn="1"/>
        </p:nvSpPr>
        <p:spPr>
          <a:xfrm>
            <a:off x="612329" y="292608"/>
            <a:ext cx="10989428" cy="594360"/>
          </a:xfrm>
          <a:prstGeom prst="rect">
            <a:avLst/>
          </a:prstGeom>
        </p:spPr>
        <p:txBody>
          <a:bodyPr vert="horz" lIns="0" tIns="0" rIns="0" bIns="0" rtlCol="0" anchor="t">
            <a:normAutofit/>
          </a:bodyPr>
          <a:lstStyle>
            <a:lvl1pPr algn="l" defTabSz="914400" rtl="0" eaLnBrk="1" latinLnBrk="0" hangingPunct="1">
              <a:lnSpc>
                <a:spcPct val="85000"/>
              </a:lnSpc>
              <a:spcBef>
                <a:spcPct val="0"/>
              </a:spcBef>
              <a:buNone/>
              <a:defRPr sz="2200" b="0" kern="1200">
                <a:solidFill>
                  <a:schemeClr val="bg1"/>
                </a:solidFill>
                <a:latin typeface="Arial" panose="020B0604020202020204" pitchFamily="34" charset="0"/>
                <a:ea typeface="+mj-ea"/>
                <a:cs typeface="Arial" pitchFamily="34" charset="0"/>
                <a:sym typeface="Arial" panose="020B0604020202020204" pitchFamily="34" charset="0"/>
              </a:defRPr>
            </a:lvl1pPr>
          </a:lstStyle>
          <a:p>
            <a:r>
              <a:rPr lang="en-US" sz="2200">
                <a:latin typeface="EYInterstate Light" panose="02000506000000020004" pitchFamily="2" charset="0"/>
                <a:cs typeface="Arial" panose="020B0604020202020204" pitchFamily="34" charset="0"/>
                <a:sym typeface="EYInterstate Light" panose="02000506000000020004" pitchFamily="2" charset="0"/>
              </a:rPr>
              <a:t>Click to edit Master title style</a:t>
            </a:r>
          </a:p>
        </p:txBody>
      </p:sp>
      <p:sp>
        <p:nvSpPr>
          <p:cNvPr id="16" name="Text Placeholder 11">
            <a:extLst>
              <a:ext uri="{FF2B5EF4-FFF2-40B4-BE49-F238E27FC236}">
                <a16:creationId xmlns:a16="http://schemas.microsoft.com/office/drawing/2014/main" id="{DFF36777-0E63-4A2D-A300-016A86EAB358}"/>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7" name="Text Placeholder 3">
            <a:extLst>
              <a:ext uri="{FF2B5EF4-FFF2-40B4-BE49-F238E27FC236}">
                <a16:creationId xmlns:a16="http://schemas.microsoft.com/office/drawing/2014/main" id="{9C59B195-D28A-424F-A379-C0B8896CC937}"/>
              </a:ext>
            </a:extLst>
          </p:cNvPr>
          <p:cNvSpPr>
            <a:spLocks noGrp="1"/>
          </p:cNvSpPr>
          <p:nvPr>
            <p:ph type="body" sz="quarter" idx="16"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8" name="Text Placeholder 5">
            <a:extLst>
              <a:ext uri="{FF2B5EF4-FFF2-40B4-BE49-F238E27FC236}">
                <a16:creationId xmlns:a16="http://schemas.microsoft.com/office/drawing/2014/main" id="{DCE160D1-17A7-4F56-8E24-0B33A3A3B457}"/>
              </a:ext>
            </a:extLst>
          </p:cNvPr>
          <p:cNvSpPr>
            <a:spLocks noGrp="1"/>
          </p:cNvSpPr>
          <p:nvPr>
            <p:ph type="body" sz="quarter" idx="17"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9" name="Text Placeholder 4">
            <a:extLst>
              <a:ext uri="{FF2B5EF4-FFF2-40B4-BE49-F238E27FC236}">
                <a16:creationId xmlns:a16="http://schemas.microsoft.com/office/drawing/2014/main" id="{7D41F50C-EF6B-43DE-B78D-8D51A1FB62F6}"/>
              </a:ext>
            </a:extLst>
          </p:cNvPr>
          <p:cNvSpPr>
            <a:spLocks noGrp="1"/>
          </p:cNvSpPr>
          <p:nvPr>
            <p:ph type="body" sz="quarter" idx="18"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501096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316815617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6D5C6AB6-9B38-4351-8DE5-99215CF51CB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557" y="-2"/>
            <a:ext cx="12176037" cy="6858004"/>
          </a:xfrm>
          <a:prstGeom prst="rect">
            <a:avLst/>
          </a:prstGeom>
        </p:spPr>
      </p:pic>
      <p:sp>
        <p:nvSpPr>
          <p:cNvPr id="45" name="Rectangle 44">
            <a:extLst>
              <a:ext uri="{FF2B5EF4-FFF2-40B4-BE49-F238E27FC236}">
                <a16:creationId xmlns:a16="http://schemas.microsoft.com/office/drawing/2014/main" id="{CB5D8988-2B20-4391-B3BA-B8A898BD19B0}"/>
              </a:ext>
            </a:extLst>
          </p:cNvPr>
          <p:cNvSpPr/>
          <p:nvPr userDrawn="1">
            <p:custDataLst>
              <p:tags r:id="rId2"/>
            </p:custDataLst>
          </p:nvPr>
        </p:nvSpPr>
        <p:spPr>
          <a:xfrm rot="5400000">
            <a:off x="-170485" y="168925"/>
            <a:ext cx="6858001" cy="6520149"/>
          </a:xfrm>
          <a:prstGeom prst="rect">
            <a:avLst/>
          </a:prstGeom>
          <a:gradFill flip="none" rotWithShape="1">
            <a:gsLst>
              <a:gs pos="0">
                <a:schemeClr val="tx2">
                  <a:alpha val="0"/>
                </a:schemeClr>
              </a:gs>
              <a:gs pos="100000">
                <a:schemeClr val="tx2">
                  <a:alpha val="4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Title 1"/>
          <p:cNvSpPr>
            <a:spLocks noGrp="1"/>
          </p:cNvSpPr>
          <p:nvPr userDrawn="1">
            <p:ph type="ctrTitle"/>
          </p:nvPr>
        </p:nvSpPr>
        <p:spPr>
          <a:xfrm>
            <a:off x="1058038" y="435988"/>
            <a:ext cx="3792785" cy="868680"/>
          </a:xfrm>
          <a:prstGeom prst="rect">
            <a:avLst/>
          </a:prstGeom>
        </p:spPr>
        <p:txBody>
          <a:bodyPr vert="horz"/>
          <a:lstStyle>
            <a:lvl1pPr>
              <a:defRPr sz="3000" b="0">
                <a:solidFill>
                  <a:srgbClr val="FFFFFF"/>
                </a:solidFill>
                <a:latin typeface="EYInterstate Light" panose="02000506000000020004" pitchFamily="2" charset="0"/>
                <a:cs typeface="Arial" pitchFamily="34" charset="0"/>
                <a:sym typeface="EYInterstate Light" panose="02000506000000020004" pitchFamily="2"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69291" y="1780465"/>
            <a:ext cx="3792785" cy="645742"/>
          </a:xfrm>
          <a:prstGeom prst="rect">
            <a:avLst/>
          </a:prstGeom>
        </p:spPr>
        <p:txBody>
          <a:bodyPr>
            <a:normAutofit/>
          </a:bodyPr>
          <a:lstStyle>
            <a:lvl1pPr marL="0" indent="0" algn="l">
              <a:buNone/>
              <a:defRPr sz="1600">
                <a:solidFill>
                  <a:srgbClr val="FFFFFF"/>
                </a:solidFill>
                <a:latin typeface="EYInterstate" panose="02000503020000020004" pitchFamily="2" charset="0"/>
                <a:cs typeface="Arial" pitchFamily="34" charset="0"/>
                <a:sym typeface="EYInterstate Light" panose="02000506000000020004" pitchFamily="2"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4540" y="1016000"/>
            <a:ext cx="155367" cy="28735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445" y="460564"/>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3" name="Text Placeholder 2">
            <a:extLst>
              <a:ext uri="{FF2B5EF4-FFF2-40B4-BE49-F238E27FC236}">
                <a16:creationId xmlns:a16="http://schemas.microsoft.com/office/drawing/2014/main" id="{1F36157B-0006-49F6-A093-140BB9DCB33A}"/>
              </a:ext>
            </a:extLst>
          </p:cNvPr>
          <p:cNvSpPr>
            <a:spLocks noGrp="1"/>
          </p:cNvSpPr>
          <p:nvPr>
            <p:ph type="body" sz="quarter" idx="18" hasCustomPrompt="1"/>
          </p:nvPr>
        </p:nvSpPr>
        <p:spPr>
          <a:xfrm>
            <a:off x="1069418" y="3503820"/>
            <a:ext cx="3808017" cy="423453"/>
          </a:xfrm>
        </p:spPr>
        <p:txBody>
          <a:bodyPr anchor="b"/>
          <a:lstStyle>
            <a:lvl1pPr marL="0" indent="0" algn="l">
              <a:buFontTx/>
              <a:buNone/>
              <a:defRPr>
                <a:solidFill>
                  <a:srgbClr val="FFFFFF"/>
                </a:solidFill>
                <a:latin typeface="EYInterstate" panose="02000503020000020004" pitchFamily="2" charset="0"/>
                <a:cs typeface="Arial" panose="020B0604020202020204" pitchFamily="34" charset="0"/>
                <a:sym typeface="EYInterstate Light" panose="02000506000000020004" pitchFamily="2" charset="0"/>
              </a:defRPr>
            </a:lvl1pPr>
            <a:lvl2pPr marL="171450" indent="0" algn="l">
              <a:buFontTx/>
              <a:buNone/>
              <a:defRPr/>
            </a:lvl2pPr>
            <a:lvl3pPr marL="342900" indent="0" algn="l">
              <a:buFontTx/>
              <a:buNone/>
              <a:defRPr/>
            </a:lvl3pPr>
            <a:lvl4pPr marL="514350" indent="0" algn="l">
              <a:buFontTx/>
              <a:buNone/>
              <a:defRPr/>
            </a:lvl4pPr>
            <a:lvl5pPr marL="685800" indent="0" algn="l">
              <a:buFontTx/>
              <a:buNone/>
              <a:defRPr/>
            </a:lvl5pPr>
          </a:lstStyle>
          <a:p>
            <a:pPr lvl="0"/>
            <a:r>
              <a:rPr lang="en-US" dirty="0"/>
              <a:t>Date</a:t>
            </a:r>
          </a:p>
        </p:txBody>
      </p:sp>
      <p:pic>
        <p:nvPicPr>
          <p:cNvPr id="44" name="Picture 43">
            <a:extLst>
              <a:ext uri="{FF2B5EF4-FFF2-40B4-BE49-F238E27FC236}">
                <a16:creationId xmlns:a16="http://schemas.microsoft.com/office/drawing/2014/main" id="{51C51D52-490F-459D-8AC4-FA781D8F6A1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190858" y="959252"/>
            <a:ext cx="420123" cy="1035843"/>
          </a:xfrm>
          <a:prstGeom prst="rect">
            <a:avLst/>
          </a:prstGeom>
        </p:spPr>
      </p:pic>
      <p:cxnSp>
        <p:nvCxnSpPr>
          <p:cNvPr id="29" name="Straight Connector 28">
            <a:extLst>
              <a:ext uri="{FF2B5EF4-FFF2-40B4-BE49-F238E27FC236}">
                <a16:creationId xmlns:a16="http://schemas.microsoft.com/office/drawing/2014/main" id="{977352E4-38B3-4DDF-B9FC-BF03E2DEDDE7}"/>
              </a:ext>
            </a:extLst>
          </p:cNvPr>
          <p:cNvCxnSpPr>
            <a:cxnSpLocks/>
          </p:cNvCxnSpPr>
          <p:nvPr userDrawn="1"/>
        </p:nvCxnSpPr>
        <p:spPr>
          <a:xfrm>
            <a:off x="1362344" y="5743608"/>
            <a:ext cx="777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50CEEED-E1FF-4F9D-84BB-93AA94FB20E2}"/>
              </a:ext>
            </a:extLst>
          </p:cNvPr>
          <p:cNvSpPr txBox="1"/>
          <p:nvPr userDrawn="1"/>
        </p:nvSpPr>
        <p:spPr>
          <a:xfrm>
            <a:off x="610962" y="5630224"/>
            <a:ext cx="1044529"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Written by</a:t>
            </a:r>
          </a:p>
        </p:txBody>
      </p:sp>
      <p:sp>
        <p:nvSpPr>
          <p:cNvPr id="47" name="Picture Placeholder 19">
            <a:extLst>
              <a:ext uri="{FF2B5EF4-FFF2-40B4-BE49-F238E27FC236}">
                <a16:creationId xmlns:a16="http://schemas.microsoft.com/office/drawing/2014/main" id="{2825F75B-756F-4FA3-B22C-7DF41FCE5A8F}"/>
              </a:ext>
            </a:extLst>
          </p:cNvPr>
          <p:cNvSpPr>
            <a:spLocks noGrp="1"/>
          </p:cNvSpPr>
          <p:nvPr>
            <p:ph type="pic" sz="quarter" idx="19"/>
          </p:nvPr>
        </p:nvSpPr>
        <p:spPr>
          <a:xfrm>
            <a:off x="624215" y="5845057"/>
            <a:ext cx="576000" cy="576000"/>
          </a:xfrm>
          <a:prstGeom prst="ellipse">
            <a:avLst/>
          </a:prstGeom>
        </p:spPr>
        <p:txBody>
          <a:bodyPr anchor="ctr"/>
          <a:lstStyle>
            <a:lvl1pPr marL="0" indent="0" algn="ctr">
              <a:buNone/>
              <a:defRPr sz="9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icon to add picture</a:t>
            </a:r>
            <a:endParaRPr lang="en-GB" dirty="0"/>
          </a:p>
        </p:txBody>
      </p:sp>
      <p:sp>
        <p:nvSpPr>
          <p:cNvPr id="48" name="Text Placeholder 16">
            <a:extLst>
              <a:ext uri="{FF2B5EF4-FFF2-40B4-BE49-F238E27FC236}">
                <a16:creationId xmlns:a16="http://schemas.microsoft.com/office/drawing/2014/main" id="{E339C961-639A-4E32-A263-C3E7AF027ABD}"/>
              </a:ext>
            </a:extLst>
          </p:cNvPr>
          <p:cNvSpPr>
            <a:spLocks noGrp="1"/>
          </p:cNvSpPr>
          <p:nvPr>
            <p:ph type="body" sz="quarter" idx="16" hasCustomPrompt="1"/>
          </p:nvPr>
        </p:nvSpPr>
        <p:spPr>
          <a:xfrm>
            <a:off x="1359619" y="5914112"/>
            <a:ext cx="3087667" cy="180000"/>
          </a:xfrm>
          <a:prstGeom prst="rect">
            <a:avLst/>
          </a:prstGeom>
        </p:spPr>
        <p:txBody>
          <a:bodyPr/>
          <a:lstStyle>
            <a:lvl1pPr marL="0" indent="0">
              <a:buNone/>
              <a:defRPr sz="120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name</a:t>
            </a:r>
            <a:endParaRPr lang="en-GB" dirty="0"/>
          </a:p>
        </p:txBody>
      </p:sp>
      <p:sp>
        <p:nvSpPr>
          <p:cNvPr id="49" name="Text Placeholder 16">
            <a:extLst>
              <a:ext uri="{FF2B5EF4-FFF2-40B4-BE49-F238E27FC236}">
                <a16:creationId xmlns:a16="http://schemas.microsoft.com/office/drawing/2014/main" id="{E65AEB65-C7DF-4747-9C57-AB29E848D614}"/>
              </a:ext>
            </a:extLst>
          </p:cNvPr>
          <p:cNvSpPr>
            <a:spLocks noGrp="1"/>
          </p:cNvSpPr>
          <p:nvPr>
            <p:ph type="body" sz="quarter" idx="17" hasCustomPrompt="1"/>
          </p:nvPr>
        </p:nvSpPr>
        <p:spPr>
          <a:xfrm>
            <a:off x="1359619" y="6156755"/>
            <a:ext cx="3087667" cy="180000"/>
          </a:xfrm>
          <a:prstGeom prst="rect">
            <a:avLst/>
          </a:prstGeom>
        </p:spPr>
        <p:txBody>
          <a:bodyPr/>
          <a:lstStyle>
            <a:lvl1pPr marL="0" indent="0">
              <a:buNone/>
              <a:defRPr sz="1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Additional text if needed</a:t>
            </a:r>
            <a:endParaRPr lang="en-GB" dirty="0"/>
          </a:p>
        </p:txBody>
      </p:sp>
    </p:spTree>
    <p:extLst>
      <p:ext uri="{BB962C8B-B14F-4D97-AF65-F5344CB8AC3E}">
        <p14:creationId xmlns:p14="http://schemas.microsoft.com/office/powerpoint/2010/main" val="2365196137"/>
      </p:ext>
    </p:extLst>
  </p:cSld>
  <p:clrMapOvr>
    <a:masterClrMapping/>
  </p:clrMapOvr>
  <p:extLst>
    <p:ext uri="{DCECCB84-F9BA-43D5-87BE-67443E8EF086}">
      <p15:sldGuideLst xmlns:p15="http://schemas.microsoft.com/office/powerpoint/2012/main">
        <p15:guide id="1" orient="horz" pos="288" userDrawn="1">
          <p15:clr>
            <a:srgbClr val="5ACBF0"/>
          </p15:clr>
        </p15:guide>
        <p15:guide id="2" orient="horz" pos="2448" userDrawn="1">
          <p15:clr>
            <a:srgbClr val="5ACBF0"/>
          </p15:clr>
        </p15:guide>
        <p15:guide id="3" pos="674" userDrawn="1">
          <p15:clr>
            <a:srgbClr val="5ACBF0"/>
          </p15:clr>
        </p15:guide>
        <p15:guide id="4" pos="3438" userDrawn="1">
          <p15:clr>
            <a:srgbClr val="5ACBF0"/>
          </p15:clr>
        </p15:guide>
        <p15:guide id="5" pos="3072" userDrawn="1">
          <p15:clr>
            <a:srgbClr val="5ACBF0"/>
          </p15:clr>
        </p15:guide>
        <p15:guide id="6" pos="386" userDrawn="1">
          <p15:clr>
            <a:srgbClr val="5ACBF0"/>
          </p15:clr>
        </p15:guide>
        <p15:guide id="7" orient="horz" pos="3672" userDrawn="1">
          <p15:clr>
            <a:srgbClr val="5ACBF0"/>
          </p15:clr>
        </p15:guide>
        <p15:guide id="8" orient="horz" pos="3992"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385458623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612457" y="1280160"/>
            <a:ext cx="1938915" cy="1939925"/>
          </a:xfrm>
        </p:spPr>
        <p:txBody>
          <a:bodyPr>
            <a:normAutofit/>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2678305" y="1280159"/>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2830626" y="1280159"/>
            <a:ext cx="8748918" cy="4892040"/>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1">
            <a:extLst>
              <a:ext uri="{FF2B5EF4-FFF2-40B4-BE49-F238E27FC236}">
                <a16:creationId xmlns:a16="http://schemas.microsoft.com/office/drawing/2014/main" id="{F5660917-6776-44BC-9DF4-563C0DEE5554}"/>
              </a:ext>
            </a:extLst>
          </p:cNvPr>
          <p:cNvSpPr>
            <a:spLocks noGrp="1"/>
          </p:cNvSpPr>
          <p:nvPr>
            <p:ph type="title"/>
          </p:nvPr>
        </p:nvSpPr>
        <p:spPr>
          <a:xfrm>
            <a:off x="612329" y="292608"/>
            <a:ext cx="10989428" cy="594360"/>
          </a:xfrm>
        </p:spPr>
        <p:txBody>
          <a:bodyPr vert="horz"/>
          <a:lstStyle>
            <a:lvl1pPr>
              <a:defRPr>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p>
        </p:txBody>
      </p:sp>
      <p:sp>
        <p:nvSpPr>
          <p:cNvPr id="14" name="Text Placeholder 11">
            <a:extLst>
              <a:ext uri="{FF2B5EF4-FFF2-40B4-BE49-F238E27FC236}">
                <a16:creationId xmlns:a16="http://schemas.microsoft.com/office/drawing/2014/main" id="{E392F9F5-0DB5-4DEE-B868-66009E2EA13E}"/>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5" name="Text Placeholder 3">
            <a:extLst>
              <a:ext uri="{FF2B5EF4-FFF2-40B4-BE49-F238E27FC236}">
                <a16:creationId xmlns:a16="http://schemas.microsoft.com/office/drawing/2014/main" id="{50D6C5E8-F33E-4F04-8379-60C4A6C50C53}"/>
              </a:ext>
            </a:extLst>
          </p:cNvPr>
          <p:cNvSpPr>
            <a:spLocks noGrp="1"/>
          </p:cNvSpPr>
          <p:nvPr>
            <p:ph type="body" sz="quarter" idx="15"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6" name="Text Placeholder 5">
            <a:extLst>
              <a:ext uri="{FF2B5EF4-FFF2-40B4-BE49-F238E27FC236}">
                <a16:creationId xmlns:a16="http://schemas.microsoft.com/office/drawing/2014/main" id="{43F61264-9B08-4990-9201-D30F83A2A23D}"/>
              </a:ext>
            </a:extLst>
          </p:cNvPr>
          <p:cNvSpPr>
            <a:spLocks noGrp="1"/>
          </p:cNvSpPr>
          <p:nvPr>
            <p:ph type="body" sz="quarter" idx="16"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7" name="Text Placeholder 4">
            <a:extLst>
              <a:ext uri="{FF2B5EF4-FFF2-40B4-BE49-F238E27FC236}">
                <a16:creationId xmlns:a16="http://schemas.microsoft.com/office/drawing/2014/main" id="{58391153-991B-48BE-A86E-44636EAC248D}"/>
              </a:ext>
            </a:extLst>
          </p:cNvPr>
          <p:cNvSpPr>
            <a:spLocks noGrp="1"/>
          </p:cNvSpPr>
          <p:nvPr>
            <p:ph type="body" sz="quarter" idx="17"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
        <p:nvSpPr>
          <p:cNvPr id="19" name="Text Placeholder 9">
            <a:extLst>
              <a:ext uri="{FF2B5EF4-FFF2-40B4-BE49-F238E27FC236}">
                <a16:creationId xmlns:a16="http://schemas.microsoft.com/office/drawing/2014/main" id="{232DD06B-CC72-48FF-A121-4F724D0A4AC6}"/>
              </a:ext>
            </a:extLst>
          </p:cNvPr>
          <p:cNvSpPr>
            <a:spLocks noGrp="1"/>
          </p:cNvSpPr>
          <p:nvPr>
            <p:ph type="body" sz="quarter" idx="19" hasCustomPrompt="1"/>
          </p:nvPr>
        </p:nvSpPr>
        <p:spPr>
          <a:xfrm>
            <a:off x="612457" y="3429000"/>
            <a:ext cx="1940400" cy="2636622"/>
          </a:xfrm>
        </p:spPr>
        <p:txBody>
          <a:bodyPr>
            <a:normAutofit/>
          </a:bodyPr>
          <a:lstStyle>
            <a:lvl1pPr marL="0" indent="0">
              <a:buNone/>
              <a:defRPr sz="1000">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13" name="Line 10">
            <a:extLst>
              <a:ext uri="{FF2B5EF4-FFF2-40B4-BE49-F238E27FC236}">
                <a16:creationId xmlns:a16="http://schemas.microsoft.com/office/drawing/2014/main" id="{12FEB52A-E610-4F04-A681-BC7792298863}"/>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858352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io dou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242011395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vert="horz"/>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612648" y="1280160"/>
            <a:ext cx="1093218" cy="1093787"/>
          </a:xfrm>
        </p:spPr>
        <p:txBody>
          <a:bodyPr/>
          <a:lstStyle>
            <a:lvl1pPr marL="0" marR="0" indent="0" algn="ctr" defTabSz="914400" rtl="0" eaLnBrk="1" fontAlgn="auto" latinLnBrk="0" hangingPunct="1">
              <a:lnSpc>
                <a:spcPct val="100000"/>
              </a:lnSpc>
              <a:spcBef>
                <a:spcPct val="20000"/>
              </a:spcBef>
              <a:spcAft>
                <a:spcPts val="0"/>
              </a:spcAft>
              <a:buClr>
                <a:schemeClr val="accent1"/>
              </a:buClr>
              <a:buSzPct val="110000"/>
              <a:buFontTx/>
              <a:buNone/>
              <a:tabLst/>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6119205" y="1266825"/>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612646" y="2527301"/>
            <a:ext cx="5264759" cy="3644899"/>
          </a:xfrm>
        </p:spPr>
        <p:txBody>
          <a:bodyPr/>
          <a:lstStyle>
            <a:lvl1pPr>
              <a:defRPr sz="1400">
                <a:latin typeface="EYInterstate Light" panose="02000506000000020004" pitchFamily="2" charset="0"/>
                <a:cs typeface="Arial" panose="020B0604020202020204" pitchFamily="34" charset="0"/>
                <a:sym typeface="EYInterstate Light" panose="02000506000000020004" pitchFamily="2" charset="0"/>
              </a:defRPr>
            </a:lvl1pPr>
            <a:lvl2pPr>
              <a:defRPr sz="1400">
                <a:latin typeface="EYInterstate Light" panose="02000506000000020004" pitchFamily="2" charset="0"/>
                <a:cs typeface="Arial" panose="020B0604020202020204" pitchFamily="34" charset="0"/>
                <a:sym typeface="EYInterstate Light" panose="02000506000000020004" pitchFamily="2" charset="0"/>
              </a:defRPr>
            </a:lvl2pPr>
            <a:lvl3pPr>
              <a:defRPr sz="1400">
                <a:latin typeface="EYInterstate Light" panose="02000506000000020004" pitchFamily="2" charset="0"/>
                <a:cs typeface="Arial" panose="020B0604020202020204" pitchFamily="34" charset="0"/>
                <a:sym typeface="EYInterstate Light" panose="02000506000000020004" pitchFamily="2" charset="0"/>
              </a:defRPr>
            </a:lvl3pPr>
            <a:lvl4pPr>
              <a:defRPr sz="1400">
                <a:latin typeface="EYInterstate Light" panose="02000506000000020004" pitchFamily="2" charset="0"/>
                <a:cs typeface="Arial" panose="020B0604020202020204" pitchFamily="34" charset="0"/>
                <a:sym typeface="EYInterstate Light" panose="02000506000000020004" pitchFamily="2" charset="0"/>
              </a:defRPr>
            </a:lvl4pPr>
            <a:lvl5pPr>
              <a:defRPr sz="14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a:extLst>
              <a:ext uri="{FF2B5EF4-FFF2-40B4-BE49-F238E27FC236}">
                <a16:creationId xmlns:a16="http://schemas.microsoft.com/office/drawing/2014/main" id="{762B91BA-C155-4FA8-9FFE-0C75D09A8870}"/>
              </a:ext>
            </a:extLst>
          </p:cNvPr>
          <p:cNvSpPr>
            <a:spLocks noGrp="1"/>
          </p:cNvSpPr>
          <p:nvPr>
            <p:ph type="body" sz="quarter" idx="14" hasCustomPrompt="1"/>
          </p:nvPr>
        </p:nvSpPr>
        <p:spPr>
          <a:xfrm>
            <a:off x="1878622" y="1280160"/>
            <a:ext cx="3981116" cy="1096962"/>
          </a:xfrm>
        </p:spPr>
        <p:txBody>
          <a:bodyPr>
            <a:normAutofit/>
          </a:bodyPr>
          <a:lstStyle>
            <a:lvl1pPr marL="0" indent="0">
              <a:buNone/>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14" name="Text Placeholder 9">
            <a:extLst>
              <a:ext uri="{FF2B5EF4-FFF2-40B4-BE49-F238E27FC236}">
                <a16:creationId xmlns:a16="http://schemas.microsoft.com/office/drawing/2014/main" id="{482B8E84-ADE0-45D4-BE61-78D20F78DA8D}"/>
              </a:ext>
            </a:extLst>
          </p:cNvPr>
          <p:cNvSpPr>
            <a:spLocks noGrp="1"/>
          </p:cNvSpPr>
          <p:nvPr>
            <p:ph type="body" sz="quarter" idx="15"/>
          </p:nvPr>
        </p:nvSpPr>
        <p:spPr>
          <a:xfrm>
            <a:off x="6319125" y="2527301"/>
            <a:ext cx="5264759" cy="3644899"/>
          </a:xfrm>
        </p:spPr>
        <p:txBody>
          <a:bodyPr/>
          <a:lstStyle>
            <a:lvl1pPr>
              <a:defRPr sz="1400">
                <a:latin typeface="EYInterstate Light" panose="02000506000000020004" pitchFamily="2" charset="0"/>
                <a:cs typeface="Arial" panose="020B0604020202020204" pitchFamily="34" charset="0"/>
                <a:sym typeface="EYInterstate Light" panose="02000506000000020004" pitchFamily="2" charset="0"/>
              </a:defRPr>
            </a:lvl1pPr>
            <a:lvl2pPr>
              <a:defRPr sz="1400">
                <a:latin typeface="EYInterstate Light" panose="02000506000000020004" pitchFamily="2" charset="0"/>
                <a:cs typeface="Arial" panose="020B0604020202020204" pitchFamily="34" charset="0"/>
                <a:sym typeface="EYInterstate Light" panose="02000506000000020004" pitchFamily="2" charset="0"/>
              </a:defRPr>
            </a:lvl2pPr>
            <a:lvl3pPr>
              <a:defRPr sz="1400">
                <a:latin typeface="EYInterstate Light" panose="02000506000000020004" pitchFamily="2" charset="0"/>
                <a:cs typeface="Arial" panose="020B0604020202020204" pitchFamily="34" charset="0"/>
                <a:sym typeface="EYInterstate Light" panose="02000506000000020004" pitchFamily="2" charset="0"/>
              </a:defRPr>
            </a:lvl3pPr>
            <a:lvl4pPr>
              <a:defRPr sz="1400">
                <a:latin typeface="EYInterstate Light" panose="02000506000000020004" pitchFamily="2" charset="0"/>
                <a:cs typeface="Arial" panose="020B0604020202020204" pitchFamily="34" charset="0"/>
                <a:sym typeface="EYInterstate Light" panose="02000506000000020004" pitchFamily="2" charset="0"/>
              </a:defRPr>
            </a:lvl4pPr>
            <a:lvl5pPr>
              <a:defRPr sz="14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Picture Placeholder 3">
            <a:extLst>
              <a:ext uri="{FF2B5EF4-FFF2-40B4-BE49-F238E27FC236}">
                <a16:creationId xmlns:a16="http://schemas.microsoft.com/office/drawing/2014/main" id="{D5371A37-C049-4C90-AA05-001B85582C34}"/>
              </a:ext>
            </a:extLst>
          </p:cNvPr>
          <p:cNvSpPr>
            <a:spLocks noGrp="1"/>
          </p:cNvSpPr>
          <p:nvPr>
            <p:ph type="pic" sz="quarter" idx="17" hasCustomPrompt="1"/>
          </p:nvPr>
        </p:nvSpPr>
        <p:spPr>
          <a:xfrm>
            <a:off x="6319126" y="1280160"/>
            <a:ext cx="1093218" cy="1093787"/>
          </a:xfrm>
        </p:spPr>
        <p:txBody>
          <a:bodyPr/>
          <a:lstStyle>
            <a:lvl1pPr marL="0" marR="0" indent="0" algn="ctr" defTabSz="914400" rtl="0" eaLnBrk="1" fontAlgn="auto" latinLnBrk="0" hangingPunct="1">
              <a:lnSpc>
                <a:spcPct val="100000"/>
              </a:lnSpc>
              <a:spcBef>
                <a:spcPct val="20000"/>
              </a:spcBef>
              <a:spcAft>
                <a:spcPts val="0"/>
              </a:spcAft>
              <a:buClr>
                <a:schemeClr val="accent1"/>
              </a:buClr>
              <a:buSzPct val="110000"/>
              <a:buFontTx/>
              <a:buNone/>
              <a:tabLst/>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sp>
        <p:nvSpPr>
          <p:cNvPr id="17" name="Text Placeholder 12">
            <a:extLst>
              <a:ext uri="{FF2B5EF4-FFF2-40B4-BE49-F238E27FC236}">
                <a16:creationId xmlns:a16="http://schemas.microsoft.com/office/drawing/2014/main" id="{BDAF8CDA-EE92-453E-A3C5-8211713CD756}"/>
              </a:ext>
            </a:extLst>
          </p:cNvPr>
          <p:cNvSpPr>
            <a:spLocks noGrp="1"/>
          </p:cNvSpPr>
          <p:nvPr>
            <p:ph type="body" sz="quarter" idx="18" hasCustomPrompt="1"/>
          </p:nvPr>
        </p:nvSpPr>
        <p:spPr>
          <a:xfrm>
            <a:off x="7604332" y="1280160"/>
            <a:ext cx="3981116" cy="1096962"/>
          </a:xfrm>
        </p:spPr>
        <p:txBody>
          <a:bodyPr>
            <a:normAutofit/>
          </a:bodyPr>
          <a:lstStyle>
            <a:lvl1pPr marL="0" indent="0">
              <a:buNone/>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22" name="Text Placeholder 3">
            <a:extLst>
              <a:ext uri="{FF2B5EF4-FFF2-40B4-BE49-F238E27FC236}">
                <a16:creationId xmlns:a16="http://schemas.microsoft.com/office/drawing/2014/main" id="{311CEBC4-8080-47EE-B07E-1A86EDF7FBF7}"/>
              </a:ext>
            </a:extLst>
          </p:cNvPr>
          <p:cNvSpPr>
            <a:spLocks noGrp="1"/>
          </p:cNvSpPr>
          <p:nvPr>
            <p:ph type="body" sz="quarter" idx="21"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23" name="Text Placeholder 11">
            <a:extLst>
              <a:ext uri="{FF2B5EF4-FFF2-40B4-BE49-F238E27FC236}">
                <a16:creationId xmlns:a16="http://schemas.microsoft.com/office/drawing/2014/main" id="{6C5CB76A-2679-4860-9AA3-577341E9A69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24" name="Text Placeholder 5">
            <a:extLst>
              <a:ext uri="{FF2B5EF4-FFF2-40B4-BE49-F238E27FC236}">
                <a16:creationId xmlns:a16="http://schemas.microsoft.com/office/drawing/2014/main" id="{E98FCC9A-0172-4FA0-BB24-C03DB7B7B56F}"/>
              </a:ext>
            </a:extLst>
          </p:cNvPr>
          <p:cNvSpPr>
            <a:spLocks noGrp="1"/>
          </p:cNvSpPr>
          <p:nvPr>
            <p:ph type="body" sz="quarter" idx="22"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25" name="Text Placeholder 4">
            <a:extLst>
              <a:ext uri="{FF2B5EF4-FFF2-40B4-BE49-F238E27FC236}">
                <a16:creationId xmlns:a16="http://schemas.microsoft.com/office/drawing/2014/main" id="{81A08589-D130-4E1E-AA5F-CCC1D185FF31}"/>
              </a:ext>
            </a:extLst>
          </p:cNvPr>
          <p:cNvSpPr>
            <a:spLocks noGrp="1"/>
          </p:cNvSpPr>
          <p:nvPr>
            <p:ph type="body" sz="quarter" idx="23"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
        <p:nvSpPr>
          <p:cNvPr id="18" name="Line 10">
            <a:extLst>
              <a:ext uri="{FF2B5EF4-FFF2-40B4-BE49-F238E27FC236}">
                <a16:creationId xmlns:a16="http://schemas.microsoft.com/office/drawing/2014/main" id="{FBC699B2-3575-42B6-A471-CC9CFA434C47}"/>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4274742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o trip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371970313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612456" y="1280160"/>
            <a:ext cx="1093218" cy="962406"/>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4214205" y="1280159"/>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612457" y="2527301"/>
            <a:ext cx="3385961" cy="3549651"/>
          </a:xfrm>
        </p:spPr>
        <p:txBody>
          <a:bodyPr/>
          <a:lstStyle>
            <a:lvl1pPr marL="176213" indent="-176213">
              <a:defRPr sz="1100">
                <a:latin typeface="EYInterstate Light" panose="02000506000000020004" pitchFamily="2" charset="0"/>
                <a:cs typeface="Arial" panose="020B0604020202020204" pitchFamily="34" charset="0"/>
                <a:sym typeface="EYInterstate Light" panose="02000506000000020004" pitchFamily="2" charset="0"/>
              </a:defRPr>
            </a:lvl1pPr>
            <a:lvl2pPr marL="360363" indent="-184150">
              <a:defRPr sz="1100">
                <a:latin typeface="EYInterstate Light" panose="02000506000000020004" pitchFamily="2" charset="0"/>
                <a:cs typeface="Arial" panose="020B0604020202020204" pitchFamily="34" charset="0"/>
                <a:sym typeface="EYInterstate Light" panose="02000506000000020004" pitchFamily="2" charset="0"/>
              </a:defRPr>
            </a:lvl2pPr>
            <a:lvl3pPr marL="534988" indent="-174625">
              <a:defRPr sz="1100">
                <a:latin typeface="EYInterstate Light" panose="02000506000000020004" pitchFamily="2" charset="0"/>
                <a:cs typeface="Arial" panose="020B0604020202020204" pitchFamily="34" charset="0"/>
                <a:sym typeface="EYInterstate Light" panose="02000506000000020004" pitchFamily="2" charset="0"/>
              </a:defRPr>
            </a:lvl3pPr>
            <a:lvl4pPr marL="720725" indent="-185738">
              <a:defRPr sz="1100">
                <a:latin typeface="EYInterstate Light" panose="02000506000000020004" pitchFamily="2" charset="0"/>
                <a:cs typeface="Arial" panose="020B0604020202020204" pitchFamily="34" charset="0"/>
                <a:sym typeface="EYInterstate Light" panose="02000506000000020004" pitchFamily="2" charset="0"/>
              </a:defRPr>
            </a:lvl4pPr>
            <a:lvl5pPr marL="895350" indent="-174625">
              <a:defRPr sz="11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762B91BA-C155-4FA8-9FFE-0C75D09A8870}"/>
              </a:ext>
            </a:extLst>
          </p:cNvPr>
          <p:cNvSpPr>
            <a:spLocks noGrp="1"/>
          </p:cNvSpPr>
          <p:nvPr>
            <p:ph type="body" sz="quarter" idx="14" hasCustomPrompt="1"/>
          </p:nvPr>
        </p:nvSpPr>
        <p:spPr>
          <a:xfrm>
            <a:off x="1878622" y="1280160"/>
            <a:ext cx="2119796" cy="965200"/>
          </a:xfrm>
        </p:spPr>
        <p:txBody>
          <a:bodyPr>
            <a:noAutofit/>
          </a:bodyPr>
          <a:lstStyle>
            <a:lvl1pPr marL="0" indent="0">
              <a:buNone/>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cxnSp>
        <p:nvCxnSpPr>
          <p:cNvPr id="11" name="Straight Connector 10">
            <a:extLst>
              <a:ext uri="{FF2B5EF4-FFF2-40B4-BE49-F238E27FC236}">
                <a16:creationId xmlns:a16="http://schemas.microsoft.com/office/drawing/2014/main" id="{ADDFEE84-4D9A-40FE-879D-C8962CFCF838}"/>
              </a:ext>
            </a:extLst>
          </p:cNvPr>
          <p:cNvCxnSpPr>
            <a:cxnSpLocks/>
          </p:cNvCxnSpPr>
          <p:nvPr userDrawn="1"/>
        </p:nvCxnSpPr>
        <p:spPr>
          <a:xfrm>
            <a:off x="8022222" y="1280159"/>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9">
            <a:extLst>
              <a:ext uri="{FF2B5EF4-FFF2-40B4-BE49-F238E27FC236}">
                <a16:creationId xmlns:a16="http://schemas.microsoft.com/office/drawing/2014/main" id="{482B8E84-ADE0-45D4-BE61-78D20F78DA8D}"/>
              </a:ext>
            </a:extLst>
          </p:cNvPr>
          <p:cNvSpPr>
            <a:spLocks noGrp="1"/>
          </p:cNvSpPr>
          <p:nvPr>
            <p:ph type="body" sz="quarter" idx="15"/>
          </p:nvPr>
        </p:nvSpPr>
        <p:spPr>
          <a:xfrm>
            <a:off x="4414127" y="2527301"/>
            <a:ext cx="3385961" cy="3549651"/>
          </a:xfrm>
        </p:spPr>
        <p:txBody>
          <a:bodyPr/>
          <a:lstStyle>
            <a:lvl1pPr marL="176213" indent="-176213">
              <a:defRPr sz="1100">
                <a:latin typeface="EYInterstate Light" panose="02000506000000020004" pitchFamily="2" charset="0"/>
                <a:cs typeface="Arial" panose="020B0604020202020204" pitchFamily="34" charset="0"/>
                <a:sym typeface="EYInterstate Light" panose="02000506000000020004" pitchFamily="2" charset="0"/>
              </a:defRPr>
            </a:lvl1pPr>
            <a:lvl2pPr marL="360363" indent="-184150">
              <a:defRPr sz="1100">
                <a:latin typeface="EYInterstate Light" panose="02000506000000020004" pitchFamily="2" charset="0"/>
                <a:cs typeface="Arial" panose="020B0604020202020204" pitchFamily="34" charset="0"/>
                <a:sym typeface="EYInterstate Light" panose="02000506000000020004" pitchFamily="2" charset="0"/>
              </a:defRPr>
            </a:lvl2pPr>
            <a:lvl3pPr marL="534988" indent="-174625">
              <a:defRPr sz="1100">
                <a:latin typeface="EYInterstate Light" panose="02000506000000020004" pitchFamily="2" charset="0"/>
                <a:cs typeface="Arial" panose="020B0604020202020204" pitchFamily="34" charset="0"/>
                <a:sym typeface="EYInterstate Light" panose="02000506000000020004" pitchFamily="2" charset="0"/>
              </a:defRPr>
            </a:lvl3pPr>
            <a:lvl4pPr marL="720725" indent="-185738">
              <a:defRPr sz="1100">
                <a:latin typeface="EYInterstate Light" panose="02000506000000020004" pitchFamily="2" charset="0"/>
                <a:cs typeface="Arial" panose="020B0604020202020204" pitchFamily="34" charset="0"/>
                <a:sym typeface="EYInterstate Light" panose="02000506000000020004" pitchFamily="2" charset="0"/>
              </a:defRPr>
            </a:lvl4pPr>
            <a:lvl5pPr marL="895350" indent="-174625">
              <a:defRPr sz="11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884CB693-286D-4F6D-84E3-7E3876F14283}"/>
              </a:ext>
            </a:extLst>
          </p:cNvPr>
          <p:cNvSpPr>
            <a:spLocks noGrp="1"/>
          </p:cNvSpPr>
          <p:nvPr>
            <p:ph type="body" sz="quarter" idx="16"/>
          </p:nvPr>
        </p:nvSpPr>
        <p:spPr>
          <a:xfrm>
            <a:off x="8215797" y="2527301"/>
            <a:ext cx="3385961" cy="3549651"/>
          </a:xfrm>
        </p:spPr>
        <p:txBody>
          <a:bodyPr/>
          <a:lstStyle>
            <a:lvl1pPr marL="176213" indent="-176213">
              <a:defRPr sz="1100">
                <a:latin typeface="EYInterstate Light" panose="02000506000000020004" pitchFamily="2" charset="0"/>
                <a:cs typeface="Arial" panose="020B0604020202020204" pitchFamily="34" charset="0"/>
                <a:sym typeface="EYInterstate Light" panose="02000506000000020004" pitchFamily="2" charset="0"/>
              </a:defRPr>
            </a:lvl1pPr>
            <a:lvl2pPr marL="360363" indent="-184150">
              <a:defRPr sz="1100">
                <a:latin typeface="EYInterstate Light" panose="02000506000000020004" pitchFamily="2" charset="0"/>
                <a:cs typeface="Arial" panose="020B0604020202020204" pitchFamily="34" charset="0"/>
                <a:sym typeface="EYInterstate Light" panose="02000506000000020004" pitchFamily="2" charset="0"/>
              </a:defRPr>
            </a:lvl2pPr>
            <a:lvl3pPr marL="534988" indent="-174625">
              <a:defRPr sz="1100">
                <a:latin typeface="EYInterstate Light" panose="02000506000000020004" pitchFamily="2" charset="0"/>
                <a:cs typeface="Arial" panose="020B0604020202020204" pitchFamily="34" charset="0"/>
                <a:sym typeface="EYInterstate Light" panose="02000506000000020004" pitchFamily="2" charset="0"/>
              </a:defRPr>
            </a:lvl3pPr>
            <a:lvl4pPr marL="720725" indent="-185738">
              <a:defRPr sz="1100">
                <a:latin typeface="EYInterstate Light" panose="02000506000000020004" pitchFamily="2" charset="0"/>
                <a:cs typeface="Arial" panose="020B0604020202020204" pitchFamily="34" charset="0"/>
                <a:sym typeface="EYInterstate Light" panose="02000506000000020004" pitchFamily="2" charset="0"/>
              </a:defRPr>
            </a:lvl4pPr>
            <a:lvl5pPr marL="895350" indent="-174625">
              <a:defRPr sz="11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3">
            <a:extLst>
              <a:ext uri="{FF2B5EF4-FFF2-40B4-BE49-F238E27FC236}">
                <a16:creationId xmlns:a16="http://schemas.microsoft.com/office/drawing/2014/main" id="{D5371A37-C049-4C90-AA05-001B85582C34}"/>
              </a:ext>
            </a:extLst>
          </p:cNvPr>
          <p:cNvSpPr>
            <a:spLocks noGrp="1"/>
          </p:cNvSpPr>
          <p:nvPr>
            <p:ph type="pic" sz="quarter" idx="17" hasCustomPrompt="1"/>
          </p:nvPr>
        </p:nvSpPr>
        <p:spPr>
          <a:xfrm>
            <a:off x="4414126" y="1280160"/>
            <a:ext cx="1093218" cy="962406"/>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sp>
        <p:nvSpPr>
          <p:cNvPr id="17" name="Text Placeholder 12">
            <a:extLst>
              <a:ext uri="{FF2B5EF4-FFF2-40B4-BE49-F238E27FC236}">
                <a16:creationId xmlns:a16="http://schemas.microsoft.com/office/drawing/2014/main" id="{BDAF8CDA-EE92-453E-A3C5-8211713CD756}"/>
              </a:ext>
            </a:extLst>
          </p:cNvPr>
          <p:cNvSpPr>
            <a:spLocks noGrp="1"/>
          </p:cNvSpPr>
          <p:nvPr>
            <p:ph type="body" sz="quarter" idx="18" hasCustomPrompt="1"/>
          </p:nvPr>
        </p:nvSpPr>
        <p:spPr>
          <a:xfrm>
            <a:off x="5699332" y="1280160"/>
            <a:ext cx="2119796" cy="965200"/>
          </a:xfrm>
        </p:spPr>
        <p:txBody>
          <a:bodyPr>
            <a:noAutofit/>
          </a:bodyPr>
          <a:lstStyle>
            <a:lvl1pPr marL="0" indent="0">
              <a:buNone/>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18" name="Picture Placeholder 3">
            <a:extLst>
              <a:ext uri="{FF2B5EF4-FFF2-40B4-BE49-F238E27FC236}">
                <a16:creationId xmlns:a16="http://schemas.microsoft.com/office/drawing/2014/main" id="{F057F2A2-0889-4021-8504-9FC9845E14CA}"/>
              </a:ext>
            </a:extLst>
          </p:cNvPr>
          <p:cNvSpPr>
            <a:spLocks noGrp="1"/>
          </p:cNvSpPr>
          <p:nvPr>
            <p:ph type="pic" sz="quarter" idx="19" hasCustomPrompt="1"/>
          </p:nvPr>
        </p:nvSpPr>
        <p:spPr>
          <a:xfrm>
            <a:off x="8215796" y="1280160"/>
            <a:ext cx="1093218" cy="962406"/>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sp>
        <p:nvSpPr>
          <p:cNvPr id="19" name="Text Placeholder 12">
            <a:extLst>
              <a:ext uri="{FF2B5EF4-FFF2-40B4-BE49-F238E27FC236}">
                <a16:creationId xmlns:a16="http://schemas.microsoft.com/office/drawing/2014/main" id="{E41D7C03-2349-4776-AF81-D207AC4F5571}"/>
              </a:ext>
            </a:extLst>
          </p:cNvPr>
          <p:cNvSpPr>
            <a:spLocks noGrp="1"/>
          </p:cNvSpPr>
          <p:nvPr>
            <p:ph type="body" sz="quarter" idx="20" hasCustomPrompt="1"/>
          </p:nvPr>
        </p:nvSpPr>
        <p:spPr>
          <a:xfrm>
            <a:off x="9481961" y="1280160"/>
            <a:ext cx="2119796" cy="965200"/>
          </a:xfrm>
        </p:spPr>
        <p:txBody>
          <a:bodyPr>
            <a:noAutofit/>
          </a:bodyPr>
          <a:lstStyle>
            <a:lvl1pPr marL="0" indent="0">
              <a:buNone/>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21" name="Text Placeholder 11">
            <a:extLst>
              <a:ext uri="{FF2B5EF4-FFF2-40B4-BE49-F238E27FC236}">
                <a16:creationId xmlns:a16="http://schemas.microsoft.com/office/drawing/2014/main" id="{52B49148-6FE8-4039-8977-F43E50D1B082}"/>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22" name="Text Placeholder 3">
            <a:extLst>
              <a:ext uri="{FF2B5EF4-FFF2-40B4-BE49-F238E27FC236}">
                <a16:creationId xmlns:a16="http://schemas.microsoft.com/office/drawing/2014/main" id="{0D8147C0-3160-430D-B758-D8C3F2876FF2}"/>
              </a:ext>
            </a:extLst>
          </p:cNvPr>
          <p:cNvSpPr>
            <a:spLocks noGrp="1"/>
          </p:cNvSpPr>
          <p:nvPr>
            <p:ph type="body" sz="quarter" idx="21"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23" name="Text Placeholder 5">
            <a:extLst>
              <a:ext uri="{FF2B5EF4-FFF2-40B4-BE49-F238E27FC236}">
                <a16:creationId xmlns:a16="http://schemas.microsoft.com/office/drawing/2014/main" id="{19AB1A8D-7CCD-4528-A63C-BC5639F84778}"/>
              </a:ext>
            </a:extLst>
          </p:cNvPr>
          <p:cNvSpPr>
            <a:spLocks noGrp="1"/>
          </p:cNvSpPr>
          <p:nvPr>
            <p:ph type="body" sz="quarter" idx="22"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24" name="Text Placeholder 4">
            <a:extLst>
              <a:ext uri="{FF2B5EF4-FFF2-40B4-BE49-F238E27FC236}">
                <a16:creationId xmlns:a16="http://schemas.microsoft.com/office/drawing/2014/main" id="{09625798-3ED9-4FCC-B9A9-33D6F4786A7F}"/>
              </a:ext>
            </a:extLst>
          </p:cNvPr>
          <p:cNvSpPr>
            <a:spLocks noGrp="1"/>
          </p:cNvSpPr>
          <p:nvPr>
            <p:ph type="body" sz="quarter" idx="23"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
        <p:nvSpPr>
          <p:cNvPr id="25" name="Title 11">
            <a:extLst>
              <a:ext uri="{FF2B5EF4-FFF2-40B4-BE49-F238E27FC236}">
                <a16:creationId xmlns:a16="http://schemas.microsoft.com/office/drawing/2014/main" id="{8D438843-08C4-4D61-9F01-62779CEC514E}"/>
              </a:ext>
            </a:extLst>
          </p:cNvPr>
          <p:cNvSpPr>
            <a:spLocks noGrp="1"/>
          </p:cNvSpPr>
          <p:nvPr>
            <p:ph type="title"/>
          </p:nvPr>
        </p:nvSpPr>
        <p:spPr>
          <a:xfrm>
            <a:off x="612329" y="292608"/>
            <a:ext cx="10989428" cy="594360"/>
          </a:xfrm>
        </p:spPr>
        <p:txBody>
          <a:bodyPr vert="horz"/>
          <a:lstStyle>
            <a:lvl1pPr>
              <a:defRPr>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p>
        </p:txBody>
      </p:sp>
    </p:spTree>
    <p:extLst>
      <p:ext uri="{BB962C8B-B14F-4D97-AF65-F5344CB8AC3E}">
        <p14:creationId xmlns:p14="http://schemas.microsoft.com/office/powerpoint/2010/main" val="4290757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D9F331-13A5-4557-91C1-124FD654D9E3}"/>
              </a:ext>
            </a:extLst>
          </p:cNvPr>
          <p:cNvGraphicFramePr>
            <a:graphicFrameLocks noChangeAspect="1"/>
          </p:cNvGraphicFramePr>
          <p:nvPr userDrawn="1">
            <p:custDataLst>
              <p:tags r:id="rId1"/>
            </p:custDataLst>
            <p:extLst>
              <p:ext uri="{D42A27DB-BD31-4B8C-83A1-F6EECF244321}">
                <p14:modId xmlns:p14="http://schemas.microsoft.com/office/powerpoint/2010/main" val="305151054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5D9F331-13A5-4557-91C1-124FD654D9E3}"/>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3" name="Text Placeholder 11">
            <a:extLst>
              <a:ext uri="{FF2B5EF4-FFF2-40B4-BE49-F238E27FC236}">
                <a16:creationId xmlns:a16="http://schemas.microsoft.com/office/drawing/2014/main" id="{0E3046BC-4B75-4A05-B713-C92003D156A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1080103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9879C5-69AB-4A70-A6B9-CAA6CC90B89B}"/>
              </a:ext>
            </a:extLst>
          </p:cNvPr>
          <p:cNvGraphicFramePr>
            <a:graphicFrameLocks noChangeAspect="1"/>
          </p:cNvGraphicFramePr>
          <p:nvPr userDrawn="1">
            <p:custDataLst>
              <p:tags r:id="rId1"/>
            </p:custDataLst>
            <p:extLst>
              <p:ext uri="{D42A27DB-BD31-4B8C-83A1-F6EECF244321}">
                <p14:modId xmlns:p14="http://schemas.microsoft.com/office/powerpoint/2010/main" val="99999552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F89879C5-69AB-4A70-A6B9-CAA6CC90B89B}"/>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660587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F288A6-BA82-47E3-8B13-607CCCD3B475}"/>
              </a:ext>
            </a:extLst>
          </p:cNvPr>
          <p:cNvGraphicFramePr>
            <a:graphicFrameLocks noChangeAspect="1"/>
          </p:cNvGraphicFramePr>
          <p:nvPr userDrawn="1">
            <p:custDataLst>
              <p:tags r:id="rId1"/>
            </p:custDataLst>
            <p:extLst>
              <p:ext uri="{D42A27DB-BD31-4B8C-83A1-F6EECF244321}">
                <p14:modId xmlns:p14="http://schemas.microsoft.com/office/powerpoint/2010/main" val="385355188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8F288A6-BA82-47E3-8B13-607CCCD3B475}"/>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268390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5C3005-76BF-48D2-8B7C-564F689BD5E9}"/>
              </a:ext>
            </a:extLst>
          </p:cNvPr>
          <p:cNvGraphicFramePr>
            <a:graphicFrameLocks noChangeAspect="1"/>
          </p:cNvGraphicFramePr>
          <p:nvPr userDrawn="1">
            <p:custDataLst>
              <p:tags r:id="rId1"/>
            </p:custDataLst>
            <p:extLst>
              <p:ext uri="{D42A27DB-BD31-4B8C-83A1-F6EECF244321}">
                <p14:modId xmlns:p14="http://schemas.microsoft.com/office/powerpoint/2010/main" val="104802169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85C3005-76BF-48D2-8B7C-564F689BD5E9}"/>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87582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5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FACC9C-7A1D-4973-9115-D6D17661385B}"/>
              </a:ext>
            </a:extLst>
          </p:cNvPr>
          <p:cNvGraphicFramePr>
            <a:graphicFrameLocks noChangeAspect="1"/>
          </p:cNvGraphicFramePr>
          <p:nvPr userDrawn="1">
            <p:custDataLst>
              <p:tags r:id="rId1"/>
            </p:custDataLst>
            <p:extLst>
              <p:ext uri="{D42A27DB-BD31-4B8C-83A1-F6EECF244321}">
                <p14:modId xmlns:p14="http://schemas.microsoft.com/office/powerpoint/2010/main" val="404002803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DFACC9C-7A1D-4973-9115-D6D17661385B}"/>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923154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Cover pag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220294989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6D5C6AB6-9B38-4351-8DE5-99215CF51CB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5963" y="3176"/>
            <a:ext cx="12176037" cy="6858004"/>
          </a:xfrm>
          <a:prstGeom prst="rect">
            <a:avLst/>
          </a:prstGeom>
        </p:spPr>
      </p:pic>
      <p:sp>
        <p:nvSpPr>
          <p:cNvPr id="45" name="Rectangle 44">
            <a:extLst>
              <a:ext uri="{FF2B5EF4-FFF2-40B4-BE49-F238E27FC236}">
                <a16:creationId xmlns:a16="http://schemas.microsoft.com/office/drawing/2014/main" id="{CB5D8988-2B20-4391-B3BA-B8A898BD19B0}"/>
              </a:ext>
            </a:extLst>
          </p:cNvPr>
          <p:cNvSpPr/>
          <p:nvPr userDrawn="1">
            <p:custDataLst>
              <p:tags r:id="rId2"/>
            </p:custDataLst>
          </p:nvPr>
        </p:nvSpPr>
        <p:spPr>
          <a:xfrm rot="5400000">
            <a:off x="-170485" y="168925"/>
            <a:ext cx="6858001" cy="6520149"/>
          </a:xfrm>
          <a:prstGeom prst="rect">
            <a:avLst/>
          </a:prstGeom>
          <a:gradFill flip="none" rotWithShape="1">
            <a:gsLst>
              <a:gs pos="0">
                <a:schemeClr val="bg2">
                  <a:alpha val="0"/>
                </a:schemeClr>
              </a:gs>
              <a:gs pos="100000">
                <a:schemeClr val="bg2">
                  <a:alpha val="5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Title 1"/>
          <p:cNvSpPr>
            <a:spLocks noGrp="1"/>
          </p:cNvSpPr>
          <p:nvPr userDrawn="1">
            <p:ph type="ctrTitle"/>
          </p:nvPr>
        </p:nvSpPr>
        <p:spPr>
          <a:xfrm>
            <a:off x="1058038" y="435988"/>
            <a:ext cx="3792785" cy="868680"/>
          </a:xfrm>
          <a:prstGeom prst="rect">
            <a:avLst/>
          </a:prstGeom>
        </p:spPr>
        <p:txBody>
          <a:bodyPr vert="horz"/>
          <a:lstStyle>
            <a:lvl1pPr>
              <a:defRPr sz="3000" b="0">
                <a:solidFill>
                  <a:srgbClr val="FFFFFF"/>
                </a:solidFill>
                <a:latin typeface="EYInterstate Light" panose="02000506000000020004" pitchFamily="2" charset="0"/>
                <a:cs typeface="Arial" pitchFamily="34" charset="0"/>
                <a:sym typeface="EYInterstate Light" panose="02000506000000020004" pitchFamily="2"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69291" y="1780465"/>
            <a:ext cx="3792785" cy="1227154"/>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sym typeface="EYInterstate Light" panose="02000506000000020004" pitchFamily="2"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4540" y="1016000"/>
            <a:ext cx="155367" cy="28735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445" y="460564"/>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3" name="Text Placeholder 2">
            <a:extLst>
              <a:ext uri="{FF2B5EF4-FFF2-40B4-BE49-F238E27FC236}">
                <a16:creationId xmlns:a16="http://schemas.microsoft.com/office/drawing/2014/main" id="{1F36157B-0006-49F6-A093-140BB9DCB33A}"/>
              </a:ext>
            </a:extLst>
          </p:cNvPr>
          <p:cNvSpPr>
            <a:spLocks noGrp="1"/>
          </p:cNvSpPr>
          <p:nvPr>
            <p:ph type="body" sz="quarter" idx="18" hasCustomPrompt="1"/>
          </p:nvPr>
        </p:nvSpPr>
        <p:spPr>
          <a:xfrm>
            <a:off x="1069418" y="3503820"/>
            <a:ext cx="3808017" cy="423453"/>
          </a:xfrm>
        </p:spPr>
        <p:txBody>
          <a:bodyPr anchor="b"/>
          <a:lstStyle>
            <a:lvl1pPr marL="0" indent="0" algn="l">
              <a:buFontTx/>
              <a:buNone/>
              <a:defRPr sz="1600">
                <a:solidFill>
                  <a:srgbClr val="FFFFFF"/>
                </a:solidFill>
                <a:latin typeface="EYInterstate" panose="02000503020000020004" pitchFamily="2" charset="0"/>
                <a:cs typeface="Arial" panose="020B0604020202020204" pitchFamily="34" charset="0"/>
                <a:sym typeface="EYInterstate Light" panose="02000506000000020004" pitchFamily="2" charset="0"/>
              </a:defRPr>
            </a:lvl1pPr>
            <a:lvl2pPr marL="171450" indent="0" algn="l">
              <a:buFontTx/>
              <a:buNone/>
              <a:defRPr/>
            </a:lvl2pPr>
            <a:lvl3pPr marL="342900" indent="0" algn="l">
              <a:buFontTx/>
              <a:buNone/>
              <a:defRPr/>
            </a:lvl3pPr>
            <a:lvl4pPr marL="514350" indent="0" algn="l">
              <a:buFontTx/>
              <a:buNone/>
              <a:defRPr/>
            </a:lvl4pPr>
            <a:lvl5pPr marL="685800" indent="0" algn="l">
              <a:buFontTx/>
              <a:buNone/>
              <a:defRPr/>
            </a:lvl5pPr>
          </a:lstStyle>
          <a:p>
            <a:pPr lvl="0"/>
            <a:r>
              <a:rPr lang="en-US" dirty="0"/>
              <a:t>Date</a:t>
            </a:r>
          </a:p>
        </p:txBody>
      </p:sp>
      <p:pic>
        <p:nvPicPr>
          <p:cNvPr id="44" name="Picture 43">
            <a:extLst>
              <a:ext uri="{FF2B5EF4-FFF2-40B4-BE49-F238E27FC236}">
                <a16:creationId xmlns:a16="http://schemas.microsoft.com/office/drawing/2014/main" id="{51C51D52-490F-459D-8AC4-FA781D8F6A1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190858" y="959252"/>
            <a:ext cx="420123" cy="1035843"/>
          </a:xfrm>
          <a:prstGeom prst="rect">
            <a:avLst/>
          </a:prstGeom>
        </p:spPr>
      </p:pic>
      <p:cxnSp>
        <p:nvCxnSpPr>
          <p:cNvPr id="29" name="Straight Connector 28">
            <a:extLst>
              <a:ext uri="{FF2B5EF4-FFF2-40B4-BE49-F238E27FC236}">
                <a16:creationId xmlns:a16="http://schemas.microsoft.com/office/drawing/2014/main" id="{977352E4-38B3-4DDF-B9FC-BF03E2DEDDE7}"/>
              </a:ext>
            </a:extLst>
          </p:cNvPr>
          <p:cNvCxnSpPr>
            <a:cxnSpLocks/>
          </p:cNvCxnSpPr>
          <p:nvPr userDrawn="1"/>
        </p:nvCxnSpPr>
        <p:spPr>
          <a:xfrm>
            <a:off x="252179" y="5936648"/>
            <a:ext cx="84854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3372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72" userDrawn="1">
          <p15:clr>
            <a:srgbClr val="5ACBF0"/>
          </p15:clr>
        </p15:guide>
        <p15:guide id="8" orient="horz" pos="399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Cover page with Better Ques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234064908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371" name="Rectangle 370" hidden="1">
            <a:extLst>
              <a:ext uri="{FF2B5EF4-FFF2-40B4-BE49-F238E27FC236}">
                <a16:creationId xmlns:a16="http://schemas.microsoft.com/office/drawing/2014/main" id="{709BF2A2-CCF9-438E-8042-ACA08C943F90}"/>
              </a:ext>
            </a:extLst>
          </p:cNvPr>
          <p:cNvSpPr/>
          <p:nvPr userDrawn="1">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370" name="Picture 369">
            <a:extLst>
              <a:ext uri="{FF2B5EF4-FFF2-40B4-BE49-F238E27FC236}">
                <a16:creationId xmlns:a16="http://schemas.microsoft.com/office/drawing/2014/main" id="{65A63399-50E2-4AEF-A838-502B8AE4BF9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3174" y="3176"/>
            <a:ext cx="12188826" cy="6854824"/>
          </a:xfrm>
          <a:prstGeom prst="rect">
            <a:avLst/>
          </a:prstGeom>
        </p:spPr>
      </p:pic>
      <p:sp>
        <p:nvSpPr>
          <p:cNvPr id="45" name="Rectangle 44">
            <a:extLst>
              <a:ext uri="{FF2B5EF4-FFF2-40B4-BE49-F238E27FC236}">
                <a16:creationId xmlns:a16="http://schemas.microsoft.com/office/drawing/2014/main" id="{CB5D8988-2B20-4391-B3BA-B8A898BD19B0}"/>
              </a:ext>
            </a:extLst>
          </p:cNvPr>
          <p:cNvSpPr/>
          <p:nvPr userDrawn="1">
            <p:custDataLst>
              <p:tags r:id="rId3"/>
            </p:custDataLst>
          </p:nvPr>
        </p:nvSpPr>
        <p:spPr>
          <a:xfrm rot="5400000">
            <a:off x="-170485" y="168925"/>
            <a:ext cx="6858001" cy="6520149"/>
          </a:xfrm>
          <a:prstGeom prst="rect">
            <a:avLst/>
          </a:prstGeom>
          <a:gradFill flip="none" rotWithShape="1">
            <a:gsLst>
              <a:gs pos="0">
                <a:schemeClr val="bg2">
                  <a:alpha val="0"/>
                </a:schemeClr>
              </a:gs>
              <a:gs pos="100000">
                <a:schemeClr val="bg2">
                  <a:alpha val="5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Title 1"/>
          <p:cNvSpPr>
            <a:spLocks noGrp="1"/>
          </p:cNvSpPr>
          <p:nvPr userDrawn="1">
            <p:ph type="ctrTitle"/>
          </p:nvPr>
        </p:nvSpPr>
        <p:spPr>
          <a:xfrm>
            <a:off x="1058038" y="435988"/>
            <a:ext cx="3792785" cy="868680"/>
          </a:xfrm>
          <a:prstGeom prst="rect">
            <a:avLst/>
          </a:prstGeom>
        </p:spPr>
        <p:txBody>
          <a:bodyPr vert="horz"/>
          <a:lstStyle>
            <a:lvl1pPr>
              <a:defRPr sz="3000" b="0">
                <a:solidFill>
                  <a:srgbClr val="FFFFFF"/>
                </a:solidFill>
                <a:latin typeface="EYInterstate Light" panose="02000506000000020004" pitchFamily="2" charset="0"/>
                <a:cs typeface="Arial" pitchFamily="34" charset="0"/>
                <a:sym typeface="EYInterstate Light" panose="02000506000000020004" pitchFamily="2"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69291" y="1780464"/>
            <a:ext cx="3792785" cy="903849"/>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sym typeface="EYInterstate Light" panose="02000506000000020004" pitchFamily="2"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4"/>
            </p:custDataLst>
          </p:nvPr>
        </p:nvSpPr>
        <p:spPr>
          <a:xfrm>
            <a:off x="612445" y="460564"/>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3" name="Text Placeholder 2">
            <a:extLst>
              <a:ext uri="{FF2B5EF4-FFF2-40B4-BE49-F238E27FC236}">
                <a16:creationId xmlns:a16="http://schemas.microsoft.com/office/drawing/2014/main" id="{1F36157B-0006-49F6-A093-140BB9DCB33A}"/>
              </a:ext>
            </a:extLst>
          </p:cNvPr>
          <p:cNvSpPr>
            <a:spLocks noGrp="1"/>
          </p:cNvSpPr>
          <p:nvPr>
            <p:ph type="body" sz="quarter" idx="18" hasCustomPrompt="1"/>
          </p:nvPr>
        </p:nvSpPr>
        <p:spPr>
          <a:xfrm>
            <a:off x="1069418" y="2684314"/>
            <a:ext cx="3808017" cy="423453"/>
          </a:xfrm>
        </p:spPr>
        <p:txBody>
          <a:bodyPr anchor="b"/>
          <a:lstStyle>
            <a:lvl1pPr marL="0" indent="0" algn="l">
              <a:buFontTx/>
              <a:buNone/>
              <a:defRPr sz="1600">
                <a:solidFill>
                  <a:srgbClr val="FFFFFF"/>
                </a:solidFill>
                <a:latin typeface="EYInterstate" panose="02000503020000020004" pitchFamily="2" charset="0"/>
                <a:cs typeface="Arial" panose="020B0604020202020204" pitchFamily="34" charset="0"/>
                <a:sym typeface="EYInterstate Light" panose="02000506000000020004" pitchFamily="2" charset="0"/>
              </a:defRPr>
            </a:lvl1pPr>
            <a:lvl2pPr marL="171450" indent="0" algn="l">
              <a:buFontTx/>
              <a:buNone/>
              <a:defRPr/>
            </a:lvl2pPr>
            <a:lvl3pPr marL="342900" indent="0" algn="l">
              <a:buFontTx/>
              <a:buNone/>
              <a:defRPr/>
            </a:lvl3pPr>
            <a:lvl4pPr marL="514350" indent="0" algn="l">
              <a:buFontTx/>
              <a:buNone/>
              <a:defRPr/>
            </a:lvl4pPr>
            <a:lvl5pPr marL="685800" indent="0" algn="l">
              <a:buFontTx/>
              <a:buNone/>
              <a:defRPr/>
            </a:lvl5pPr>
          </a:lstStyle>
          <a:p>
            <a:pPr lvl="0"/>
            <a:r>
              <a:rPr lang="en-US" dirty="0"/>
              <a:t>Date</a:t>
            </a:r>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2159" y="2843212"/>
            <a:ext cx="155367" cy="1046351"/>
          </a:xfrm>
          <a:custGeom>
            <a:avLst/>
            <a:gdLst>
              <a:gd name="connsiteX0" fmla="*/ 0 w 155367"/>
              <a:gd name="connsiteY0" fmla="*/ 0 h 946339"/>
              <a:gd name="connsiteX1" fmla="*/ 155367 w 155367"/>
              <a:gd name="connsiteY1" fmla="*/ 0 h 946339"/>
              <a:gd name="connsiteX2" fmla="*/ 155367 w 155367"/>
              <a:gd name="connsiteY2" fmla="*/ 946339 h 946339"/>
              <a:gd name="connsiteX3" fmla="*/ 0 w 155367"/>
              <a:gd name="connsiteY3" fmla="*/ 946339 h 946339"/>
              <a:gd name="connsiteX4" fmla="*/ 0 w 155367"/>
              <a:gd name="connsiteY4" fmla="*/ 0 h 946339"/>
              <a:gd name="connsiteX0" fmla="*/ 0 w 155367"/>
              <a:gd name="connsiteY0" fmla="*/ 100012 h 1046351"/>
              <a:gd name="connsiteX1" fmla="*/ 155367 w 155367"/>
              <a:gd name="connsiteY1" fmla="*/ 0 h 1046351"/>
              <a:gd name="connsiteX2" fmla="*/ 155367 w 155367"/>
              <a:gd name="connsiteY2" fmla="*/ 1046351 h 1046351"/>
              <a:gd name="connsiteX3" fmla="*/ 0 w 155367"/>
              <a:gd name="connsiteY3" fmla="*/ 1046351 h 1046351"/>
              <a:gd name="connsiteX4" fmla="*/ 0 w 155367"/>
              <a:gd name="connsiteY4" fmla="*/ 100012 h 1046351"/>
              <a:gd name="connsiteX0" fmla="*/ 0 w 155367"/>
              <a:gd name="connsiteY0" fmla="*/ 104774 h 1046351"/>
              <a:gd name="connsiteX1" fmla="*/ 155367 w 155367"/>
              <a:gd name="connsiteY1" fmla="*/ 0 h 1046351"/>
              <a:gd name="connsiteX2" fmla="*/ 155367 w 155367"/>
              <a:gd name="connsiteY2" fmla="*/ 1046351 h 1046351"/>
              <a:gd name="connsiteX3" fmla="*/ 0 w 155367"/>
              <a:gd name="connsiteY3" fmla="*/ 1046351 h 1046351"/>
              <a:gd name="connsiteX4" fmla="*/ 0 w 155367"/>
              <a:gd name="connsiteY4" fmla="*/ 104774 h 1046351"/>
              <a:gd name="connsiteX0" fmla="*/ 0 w 155367"/>
              <a:gd name="connsiteY0" fmla="*/ 104774 h 1046351"/>
              <a:gd name="connsiteX1" fmla="*/ 95660 w 155367"/>
              <a:gd name="connsiteY1" fmla="*/ 40482 h 1046351"/>
              <a:gd name="connsiteX2" fmla="*/ 155367 w 155367"/>
              <a:gd name="connsiteY2" fmla="*/ 0 h 1046351"/>
              <a:gd name="connsiteX3" fmla="*/ 155367 w 155367"/>
              <a:gd name="connsiteY3" fmla="*/ 1046351 h 1046351"/>
              <a:gd name="connsiteX4" fmla="*/ 0 w 155367"/>
              <a:gd name="connsiteY4" fmla="*/ 1046351 h 1046351"/>
              <a:gd name="connsiteX5" fmla="*/ 0 w 155367"/>
              <a:gd name="connsiteY5" fmla="*/ 104774 h 1046351"/>
              <a:gd name="connsiteX0" fmla="*/ 0 w 155367"/>
              <a:gd name="connsiteY0" fmla="*/ 104774 h 1046351"/>
              <a:gd name="connsiteX1" fmla="*/ 38510 w 155367"/>
              <a:gd name="connsiteY1" fmla="*/ 80963 h 1046351"/>
              <a:gd name="connsiteX2" fmla="*/ 95660 w 155367"/>
              <a:gd name="connsiteY2" fmla="*/ 40482 h 1046351"/>
              <a:gd name="connsiteX3" fmla="*/ 155367 w 155367"/>
              <a:gd name="connsiteY3" fmla="*/ 0 h 1046351"/>
              <a:gd name="connsiteX4" fmla="*/ 155367 w 155367"/>
              <a:gd name="connsiteY4" fmla="*/ 1046351 h 1046351"/>
              <a:gd name="connsiteX5" fmla="*/ 0 w 155367"/>
              <a:gd name="connsiteY5" fmla="*/ 1046351 h 1046351"/>
              <a:gd name="connsiteX6" fmla="*/ 0 w 155367"/>
              <a:gd name="connsiteY6" fmla="*/ 104774 h 1046351"/>
              <a:gd name="connsiteX0" fmla="*/ 0 w 155367"/>
              <a:gd name="connsiteY0" fmla="*/ 104774 h 1046351"/>
              <a:gd name="connsiteX1" fmla="*/ 38510 w 155367"/>
              <a:gd name="connsiteY1" fmla="*/ 80963 h 1046351"/>
              <a:gd name="connsiteX2" fmla="*/ 95660 w 155367"/>
              <a:gd name="connsiteY2" fmla="*/ 40482 h 1046351"/>
              <a:gd name="connsiteX3" fmla="*/ 121854 w 155367"/>
              <a:gd name="connsiteY3" fmla="*/ 23813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38510 w 155367"/>
              <a:gd name="connsiteY1" fmla="*/ 80963 h 1046351"/>
              <a:gd name="connsiteX2" fmla="*/ 95660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5654 w 155367"/>
              <a:gd name="connsiteY1" fmla="*/ 90488 h 1046351"/>
              <a:gd name="connsiteX2" fmla="*/ 95660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5654 w 155367"/>
              <a:gd name="connsiteY1" fmla="*/ 90488 h 1046351"/>
              <a:gd name="connsiteX2" fmla="*/ 88517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8035 w 155367"/>
              <a:gd name="connsiteY1" fmla="*/ 88106 h 1046351"/>
              <a:gd name="connsiteX2" fmla="*/ 88517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8035 w 155367"/>
              <a:gd name="connsiteY1" fmla="*/ 88106 h 1046351"/>
              <a:gd name="connsiteX2" fmla="*/ 88517 w 155367"/>
              <a:gd name="connsiteY2" fmla="*/ 40482 h 1046351"/>
              <a:gd name="connsiteX3" fmla="*/ 114710 w 155367"/>
              <a:gd name="connsiteY3" fmla="*/ 21432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8035 w 155367"/>
              <a:gd name="connsiteY1" fmla="*/ 88106 h 1046351"/>
              <a:gd name="connsiteX2" fmla="*/ 88517 w 155367"/>
              <a:gd name="connsiteY2" fmla="*/ 40482 h 1046351"/>
              <a:gd name="connsiteX3" fmla="*/ 114710 w 155367"/>
              <a:gd name="connsiteY3" fmla="*/ 14288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55178 w 155367"/>
              <a:gd name="connsiteY1" fmla="*/ 88106 h 1046351"/>
              <a:gd name="connsiteX2" fmla="*/ 88517 w 155367"/>
              <a:gd name="connsiteY2" fmla="*/ 40482 h 1046351"/>
              <a:gd name="connsiteX3" fmla="*/ 114710 w 155367"/>
              <a:gd name="connsiteY3" fmla="*/ 14288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57559 w 155367"/>
              <a:gd name="connsiteY1" fmla="*/ 83343 h 1046351"/>
              <a:gd name="connsiteX2" fmla="*/ 88517 w 155367"/>
              <a:gd name="connsiteY2" fmla="*/ 40482 h 1046351"/>
              <a:gd name="connsiteX3" fmla="*/ 114710 w 155367"/>
              <a:gd name="connsiteY3" fmla="*/ 14288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367" h="1046351">
                <a:moveTo>
                  <a:pt x="0" y="104774"/>
                </a:moveTo>
                <a:lnTo>
                  <a:pt x="57559" y="83343"/>
                </a:lnTo>
                <a:lnTo>
                  <a:pt x="88517" y="40482"/>
                </a:lnTo>
                <a:lnTo>
                  <a:pt x="114710" y="14288"/>
                </a:lnTo>
                <a:lnTo>
                  <a:pt x="155367" y="0"/>
                </a:lnTo>
                <a:lnTo>
                  <a:pt x="155367" y="1046351"/>
                </a:lnTo>
                <a:lnTo>
                  <a:pt x="0" y="1046351"/>
                </a:lnTo>
                <a:lnTo>
                  <a:pt x="0" y="10477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6" name="Rectangle 115">
            <a:extLst>
              <a:ext uri="{FF2B5EF4-FFF2-40B4-BE49-F238E27FC236}">
                <a16:creationId xmlns:a16="http://schemas.microsoft.com/office/drawing/2014/main" id="{EDCBC18F-25AD-490C-ACA1-AE6712824015}"/>
              </a:ext>
            </a:extLst>
          </p:cNvPr>
          <p:cNvSpPr/>
          <p:nvPr userDrawn="1"/>
        </p:nvSpPr>
        <p:spPr>
          <a:xfrm>
            <a:off x="5312159" y="460564"/>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7533592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72" userDrawn="1">
          <p15:clr>
            <a:srgbClr val="5ACBF0"/>
          </p15:clr>
        </p15:guide>
        <p15:guide id="8" orient="horz" pos="399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page with Better Ques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348708628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9" imgW="306" imgH="306" progId="TCLayout.ActiveDocument.1">
                  <p:embed/>
                </p:oleObj>
              </mc:Choice>
              <mc:Fallback>
                <p:oleObj name="think-cell Slide" r:id="rId9"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10"/>
                      <a:stretch>
                        <a:fillRect/>
                      </a:stretch>
                    </p:blipFill>
                    <p:spPr>
                      <a:xfrm>
                        <a:off x="1587" y="1588"/>
                        <a:ext cx="1587" cy="1588"/>
                      </a:xfrm>
                      <a:prstGeom prst="rect">
                        <a:avLst/>
                      </a:prstGeom>
                    </p:spPr>
                  </p:pic>
                </p:oleObj>
              </mc:Fallback>
            </mc:AlternateContent>
          </a:graphicData>
        </a:graphic>
      </p:graphicFrame>
      <p:sp>
        <p:nvSpPr>
          <p:cNvPr id="371" name="Rectangle 370" hidden="1">
            <a:extLst>
              <a:ext uri="{FF2B5EF4-FFF2-40B4-BE49-F238E27FC236}">
                <a16:creationId xmlns:a16="http://schemas.microsoft.com/office/drawing/2014/main" id="{709BF2A2-CCF9-438E-8042-ACA08C943F90}"/>
              </a:ext>
            </a:extLst>
          </p:cNvPr>
          <p:cNvSpPr/>
          <p:nvPr userDrawn="1">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370" name="Picture 369">
            <a:extLst>
              <a:ext uri="{FF2B5EF4-FFF2-40B4-BE49-F238E27FC236}">
                <a16:creationId xmlns:a16="http://schemas.microsoft.com/office/drawing/2014/main" id="{65A63399-50E2-4AEF-A838-502B8AE4BF9C}"/>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3174" y="3176"/>
            <a:ext cx="12188826" cy="6854824"/>
          </a:xfrm>
          <a:prstGeom prst="rect">
            <a:avLst/>
          </a:prstGeom>
        </p:spPr>
      </p:pic>
      <p:sp>
        <p:nvSpPr>
          <p:cNvPr id="45" name="Rectangle 44">
            <a:extLst>
              <a:ext uri="{FF2B5EF4-FFF2-40B4-BE49-F238E27FC236}">
                <a16:creationId xmlns:a16="http://schemas.microsoft.com/office/drawing/2014/main" id="{CB5D8988-2B20-4391-B3BA-B8A898BD19B0}"/>
              </a:ext>
            </a:extLst>
          </p:cNvPr>
          <p:cNvSpPr/>
          <p:nvPr userDrawn="1">
            <p:custDataLst>
              <p:tags r:id="rId3"/>
            </p:custDataLst>
          </p:nvPr>
        </p:nvSpPr>
        <p:spPr>
          <a:xfrm rot="5400000">
            <a:off x="-170485" y="168925"/>
            <a:ext cx="6858001" cy="6520149"/>
          </a:xfrm>
          <a:prstGeom prst="rect">
            <a:avLst/>
          </a:prstGeom>
          <a:gradFill flip="none" rotWithShape="1">
            <a:gsLst>
              <a:gs pos="0">
                <a:schemeClr val="tx2">
                  <a:alpha val="0"/>
                </a:schemeClr>
              </a:gs>
              <a:gs pos="100000">
                <a:schemeClr val="tx2">
                  <a:alpha val="4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Title 1"/>
          <p:cNvSpPr>
            <a:spLocks noGrp="1"/>
          </p:cNvSpPr>
          <p:nvPr userDrawn="1">
            <p:ph type="ctrTitle"/>
          </p:nvPr>
        </p:nvSpPr>
        <p:spPr>
          <a:xfrm>
            <a:off x="1058038" y="435988"/>
            <a:ext cx="3792785" cy="868680"/>
          </a:xfrm>
          <a:prstGeom prst="rect">
            <a:avLst/>
          </a:prstGeom>
        </p:spPr>
        <p:txBody>
          <a:bodyPr vert="horz"/>
          <a:lstStyle>
            <a:lvl1pPr>
              <a:defRPr sz="3000" b="0">
                <a:solidFill>
                  <a:srgbClr val="FFFFFF"/>
                </a:solidFill>
                <a:latin typeface="EYInterstate Light" panose="02000506000000020004" pitchFamily="2" charset="0"/>
                <a:cs typeface="Arial" pitchFamily="34" charset="0"/>
                <a:sym typeface="EYInterstate Light" panose="02000506000000020004" pitchFamily="2"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69291" y="1780465"/>
            <a:ext cx="3792785"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sym typeface="EYInterstate Light" panose="02000506000000020004" pitchFamily="2"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4"/>
            </p:custDataLst>
          </p:nvPr>
        </p:nvSpPr>
        <p:spPr>
          <a:xfrm>
            <a:off x="612445" y="460564"/>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3" name="Text Placeholder 2">
            <a:extLst>
              <a:ext uri="{FF2B5EF4-FFF2-40B4-BE49-F238E27FC236}">
                <a16:creationId xmlns:a16="http://schemas.microsoft.com/office/drawing/2014/main" id="{1F36157B-0006-49F6-A093-140BB9DCB33A}"/>
              </a:ext>
            </a:extLst>
          </p:cNvPr>
          <p:cNvSpPr>
            <a:spLocks noGrp="1"/>
          </p:cNvSpPr>
          <p:nvPr>
            <p:ph type="body" sz="quarter" idx="18" hasCustomPrompt="1"/>
          </p:nvPr>
        </p:nvSpPr>
        <p:spPr>
          <a:xfrm>
            <a:off x="1069418" y="2684314"/>
            <a:ext cx="3808017" cy="423453"/>
          </a:xfrm>
        </p:spPr>
        <p:txBody>
          <a:bodyPr anchor="b">
            <a:normAutofit/>
          </a:bodyPr>
          <a:lstStyle>
            <a:lvl1pPr marL="0" indent="0" algn="l">
              <a:buFontTx/>
              <a:buNone/>
              <a:defRPr sz="1600">
                <a:solidFill>
                  <a:srgbClr val="FFFFFF"/>
                </a:solidFill>
                <a:latin typeface="EYInterstate" panose="02000503020000020004" pitchFamily="2" charset="0"/>
                <a:cs typeface="Arial" panose="020B0604020202020204" pitchFamily="34" charset="0"/>
                <a:sym typeface="EYInterstate Light" panose="02000506000000020004" pitchFamily="2" charset="0"/>
              </a:defRPr>
            </a:lvl1pPr>
            <a:lvl2pPr marL="171450" indent="0" algn="l">
              <a:buFontTx/>
              <a:buNone/>
              <a:defRPr/>
            </a:lvl2pPr>
            <a:lvl3pPr marL="342900" indent="0" algn="l">
              <a:buFontTx/>
              <a:buNone/>
              <a:defRPr/>
            </a:lvl3pPr>
            <a:lvl4pPr marL="514350" indent="0" algn="l">
              <a:buFontTx/>
              <a:buNone/>
              <a:defRPr/>
            </a:lvl4pPr>
            <a:lvl5pPr marL="685800" indent="0" algn="l">
              <a:buFontTx/>
              <a:buNone/>
              <a:defRPr/>
            </a:lvl5pPr>
          </a:lstStyle>
          <a:p>
            <a:pPr lvl="0"/>
            <a:r>
              <a:rPr lang="en-US" dirty="0"/>
              <a:t>Date</a:t>
            </a:r>
          </a:p>
        </p:txBody>
      </p:sp>
      <p:sp>
        <p:nvSpPr>
          <p:cNvPr id="50" name="Rectangle 49">
            <a:extLst>
              <a:ext uri="{FF2B5EF4-FFF2-40B4-BE49-F238E27FC236}">
                <a16:creationId xmlns:a16="http://schemas.microsoft.com/office/drawing/2014/main" id="{3A2065DB-7BF5-4CF3-A5DC-E515FBBA2E55}"/>
              </a:ext>
            </a:extLst>
          </p:cNvPr>
          <p:cNvSpPr/>
          <p:nvPr userDrawn="1">
            <p:custDataLst>
              <p:tags r:id="rId5"/>
            </p:custDataLst>
          </p:nvPr>
        </p:nvSpPr>
        <p:spPr>
          <a:xfrm>
            <a:off x="1069975" y="3802983"/>
            <a:ext cx="82296" cy="8229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3" name="Rectangle 52">
            <a:extLst>
              <a:ext uri="{FF2B5EF4-FFF2-40B4-BE49-F238E27FC236}">
                <a16:creationId xmlns:a16="http://schemas.microsoft.com/office/drawing/2014/main" id="{BB746D22-4D3C-4EA5-B35F-7495D39C37E8}"/>
              </a:ext>
            </a:extLst>
          </p:cNvPr>
          <p:cNvSpPr/>
          <p:nvPr userDrawn="1">
            <p:custDataLst>
              <p:tags r:id="rId6"/>
            </p:custDataLst>
          </p:nvPr>
        </p:nvSpPr>
        <p:spPr>
          <a:xfrm>
            <a:off x="1236661" y="3802981"/>
            <a:ext cx="82296" cy="8229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5" name="Rectangle 54">
            <a:extLst>
              <a:ext uri="{FF2B5EF4-FFF2-40B4-BE49-F238E27FC236}">
                <a16:creationId xmlns:a16="http://schemas.microsoft.com/office/drawing/2014/main" id="{FD371F3B-15D8-4E49-B3B5-3B787C476B72}"/>
              </a:ext>
            </a:extLst>
          </p:cNvPr>
          <p:cNvSpPr/>
          <p:nvPr userDrawn="1">
            <p:custDataLst>
              <p:tags r:id="rId7"/>
            </p:custDataLst>
          </p:nvPr>
        </p:nvSpPr>
        <p:spPr>
          <a:xfrm>
            <a:off x="1403347" y="3802979"/>
            <a:ext cx="82296" cy="8229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 name="TextBox 1">
            <a:extLst>
              <a:ext uri="{FF2B5EF4-FFF2-40B4-BE49-F238E27FC236}">
                <a16:creationId xmlns:a16="http://schemas.microsoft.com/office/drawing/2014/main" id="{154480D6-8E86-4585-8F0D-45695F0D0FA5}"/>
              </a:ext>
            </a:extLst>
          </p:cNvPr>
          <p:cNvSpPr txBox="1"/>
          <p:nvPr userDrawn="1"/>
        </p:nvSpPr>
        <p:spPr>
          <a:xfrm>
            <a:off x="1058037" y="3449097"/>
            <a:ext cx="1866137" cy="166688"/>
          </a:xfrm>
          <a:prstGeom prst="rect">
            <a:avLst/>
          </a:prstGeom>
        </p:spPr>
        <p:txBody>
          <a:bodyPr vert="horz" wrap="square" lIns="0" tIns="0" rIns="0" bIns="0" rtlCol="0" anchor="t" anchorCtr="0">
            <a:noAutofit/>
          </a:bodyPr>
          <a:lstStyle/>
          <a:p>
            <a:pPr marL="0" indent="0" algn="l">
              <a:buSzPct val="70000"/>
              <a:buFont typeface="Arial" panose="020B0604020202020204" pitchFamily="34" charset="0"/>
              <a:buNone/>
            </a:pPr>
            <a:r>
              <a:rPr lang="en-US" sz="16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t>Strategy realized</a:t>
            </a:r>
          </a:p>
        </p:txBody>
      </p:sp>
      <p:sp>
        <p:nvSpPr>
          <p:cNvPr id="5" name="Freeform: Shape 4">
            <a:extLst>
              <a:ext uri="{FF2B5EF4-FFF2-40B4-BE49-F238E27FC236}">
                <a16:creationId xmlns:a16="http://schemas.microsoft.com/office/drawing/2014/main" id="{68296C3E-342A-456A-B848-039CDC501423}"/>
              </a:ext>
            </a:extLst>
          </p:cNvPr>
          <p:cNvSpPr/>
          <p:nvPr/>
        </p:nvSpPr>
        <p:spPr>
          <a:xfrm>
            <a:off x="975609" y="5829300"/>
            <a:ext cx="82296" cy="82296"/>
          </a:xfrm>
          <a:custGeom>
            <a:avLst/>
            <a:gdLst>
              <a:gd name="connsiteX0" fmla="*/ 0 w 82296"/>
              <a:gd name="connsiteY0" fmla="*/ 0 h 82296"/>
              <a:gd name="connsiteX1" fmla="*/ 90708 w 82296"/>
              <a:gd name="connsiteY1" fmla="*/ 0 h 82296"/>
              <a:gd name="connsiteX2" fmla="*/ 90708 w 82296"/>
              <a:gd name="connsiteY2" fmla="*/ 90800 h 82296"/>
              <a:gd name="connsiteX3" fmla="*/ 0 w 82296"/>
              <a:gd name="connsiteY3" fmla="*/ 90800 h 82296"/>
            </a:gdLst>
            <a:ahLst/>
            <a:cxnLst>
              <a:cxn ang="0">
                <a:pos x="connsiteX0" y="connsiteY0"/>
              </a:cxn>
              <a:cxn ang="0">
                <a:pos x="connsiteX1" y="connsiteY1"/>
              </a:cxn>
              <a:cxn ang="0">
                <a:pos x="connsiteX2" y="connsiteY2"/>
              </a:cxn>
              <a:cxn ang="0">
                <a:pos x="connsiteX3" y="connsiteY3"/>
              </a:cxn>
            </a:cxnLst>
            <a:rect l="l" t="t" r="r" b="b"/>
            <a:pathLst>
              <a:path w="82296" h="82296">
                <a:moveTo>
                  <a:pt x="0" y="0"/>
                </a:moveTo>
                <a:lnTo>
                  <a:pt x="90708" y="0"/>
                </a:lnTo>
                <a:lnTo>
                  <a:pt x="90708" y="90800"/>
                </a:lnTo>
                <a:lnTo>
                  <a:pt x="0" y="90800"/>
                </a:lnTo>
                <a:close/>
              </a:path>
            </a:pathLst>
          </a:custGeom>
          <a:solidFill>
            <a:srgbClr val="1A9AFA"/>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 name="Freeform: Shape 5">
            <a:extLst>
              <a:ext uri="{FF2B5EF4-FFF2-40B4-BE49-F238E27FC236}">
                <a16:creationId xmlns:a16="http://schemas.microsoft.com/office/drawing/2014/main" id="{CC780777-96FE-450E-ACD3-00F8155F4BE7}"/>
              </a:ext>
            </a:extLst>
          </p:cNvPr>
          <p:cNvSpPr/>
          <p:nvPr/>
        </p:nvSpPr>
        <p:spPr>
          <a:xfrm>
            <a:off x="794192" y="5829300"/>
            <a:ext cx="82296" cy="82296"/>
          </a:xfrm>
          <a:custGeom>
            <a:avLst/>
            <a:gdLst>
              <a:gd name="connsiteX0" fmla="*/ 0 w 82296"/>
              <a:gd name="connsiteY0" fmla="*/ 0 h 82296"/>
              <a:gd name="connsiteX1" fmla="*/ 90708 w 82296"/>
              <a:gd name="connsiteY1" fmla="*/ 0 h 82296"/>
              <a:gd name="connsiteX2" fmla="*/ 90708 w 82296"/>
              <a:gd name="connsiteY2" fmla="*/ 90800 h 82296"/>
              <a:gd name="connsiteX3" fmla="*/ 0 w 82296"/>
              <a:gd name="connsiteY3" fmla="*/ 90800 h 82296"/>
            </a:gdLst>
            <a:ahLst/>
            <a:cxnLst>
              <a:cxn ang="0">
                <a:pos x="connsiteX0" y="connsiteY0"/>
              </a:cxn>
              <a:cxn ang="0">
                <a:pos x="connsiteX1" y="connsiteY1"/>
              </a:cxn>
              <a:cxn ang="0">
                <a:pos x="connsiteX2" y="connsiteY2"/>
              </a:cxn>
              <a:cxn ang="0">
                <a:pos x="connsiteX3" y="connsiteY3"/>
              </a:cxn>
            </a:cxnLst>
            <a:rect l="l" t="t" r="r" b="b"/>
            <a:pathLst>
              <a:path w="82296" h="82296">
                <a:moveTo>
                  <a:pt x="0" y="0"/>
                </a:moveTo>
                <a:lnTo>
                  <a:pt x="90708" y="0"/>
                </a:lnTo>
                <a:lnTo>
                  <a:pt x="90708" y="90800"/>
                </a:lnTo>
                <a:lnTo>
                  <a:pt x="0" y="90800"/>
                </a:lnTo>
                <a:close/>
              </a:path>
            </a:pathLst>
          </a:custGeom>
          <a:solidFill>
            <a:srgbClr val="1A9AFA"/>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Freeform: Shape 6">
            <a:extLst>
              <a:ext uri="{FF2B5EF4-FFF2-40B4-BE49-F238E27FC236}">
                <a16:creationId xmlns:a16="http://schemas.microsoft.com/office/drawing/2014/main" id="{A9A3A6D8-6A25-4A48-93A0-92A72A6CFE27}"/>
              </a:ext>
            </a:extLst>
          </p:cNvPr>
          <p:cNvSpPr/>
          <p:nvPr/>
        </p:nvSpPr>
        <p:spPr>
          <a:xfrm>
            <a:off x="612866" y="5829300"/>
            <a:ext cx="82296" cy="82296"/>
          </a:xfrm>
          <a:custGeom>
            <a:avLst/>
            <a:gdLst>
              <a:gd name="connsiteX0" fmla="*/ 0 w 82296"/>
              <a:gd name="connsiteY0" fmla="*/ 0 h 82296"/>
              <a:gd name="connsiteX1" fmla="*/ 90617 w 82296"/>
              <a:gd name="connsiteY1" fmla="*/ 0 h 82296"/>
              <a:gd name="connsiteX2" fmla="*/ 90617 w 82296"/>
              <a:gd name="connsiteY2" fmla="*/ 90800 h 82296"/>
              <a:gd name="connsiteX3" fmla="*/ 0 w 82296"/>
              <a:gd name="connsiteY3" fmla="*/ 90800 h 82296"/>
            </a:gdLst>
            <a:ahLst/>
            <a:cxnLst>
              <a:cxn ang="0">
                <a:pos x="connsiteX0" y="connsiteY0"/>
              </a:cxn>
              <a:cxn ang="0">
                <a:pos x="connsiteX1" y="connsiteY1"/>
              </a:cxn>
              <a:cxn ang="0">
                <a:pos x="connsiteX2" y="connsiteY2"/>
              </a:cxn>
              <a:cxn ang="0">
                <a:pos x="connsiteX3" y="connsiteY3"/>
              </a:cxn>
            </a:cxnLst>
            <a:rect l="l" t="t" r="r" b="b"/>
            <a:pathLst>
              <a:path w="82296" h="82296">
                <a:moveTo>
                  <a:pt x="0" y="0"/>
                </a:moveTo>
                <a:lnTo>
                  <a:pt x="90617" y="0"/>
                </a:lnTo>
                <a:lnTo>
                  <a:pt x="90617" y="90800"/>
                </a:lnTo>
                <a:lnTo>
                  <a:pt x="0" y="90800"/>
                </a:lnTo>
                <a:close/>
              </a:path>
            </a:pathLst>
          </a:custGeom>
          <a:solidFill>
            <a:srgbClr val="1A9AFA"/>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3" name="Group 2">
            <a:extLst>
              <a:ext uri="{FF2B5EF4-FFF2-40B4-BE49-F238E27FC236}">
                <a16:creationId xmlns:a16="http://schemas.microsoft.com/office/drawing/2014/main" id="{EB53EB16-77CC-46A3-B7A3-3E196BD4B947}"/>
              </a:ext>
            </a:extLst>
          </p:cNvPr>
          <p:cNvGrpSpPr/>
          <p:nvPr userDrawn="1"/>
        </p:nvGrpSpPr>
        <p:grpSpPr>
          <a:xfrm>
            <a:off x="612775" y="6033668"/>
            <a:ext cx="3443905" cy="303764"/>
            <a:chOff x="612775" y="6033668"/>
            <a:chExt cx="3443905" cy="303764"/>
          </a:xfrm>
        </p:grpSpPr>
        <p:sp>
          <p:nvSpPr>
            <p:cNvPr id="9" name="Freeform: Shape 8">
              <a:extLst>
                <a:ext uri="{FF2B5EF4-FFF2-40B4-BE49-F238E27FC236}">
                  <a16:creationId xmlns:a16="http://schemas.microsoft.com/office/drawing/2014/main" id="{33EEDF1E-B605-41C1-8622-1509298F1103}"/>
                </a:ext>
              </a:extLst>
            </p:cNvPr>
            <p:cNvSpPr/>
            <p:nvPr/>
          </p:nvSpPr>
          <p:spPr>
            <a:xfrm>
              <a:off x="612775" y="6038515"/>
              <a:ext cx="82296" cy="109728"/>
            </a:xfrm>
            <a:custGeom>
              <a:avLst/>
              <a:gdLst>
                <a:gd name="connsiteX0" fmla="*/ 0 w 82296"/>
                <a:gd name="connsiteY0" fmla="*/ 0 h 109728"/>
                <a:gd name="connsiteX1" fmla="*/ 0 w 82296"/>
                <a:gd name="connsiteY1" fmla="*/ 17008 h 109728"/>
                <a:gd name="connsiteX2" fmla="*/ 33833 w 82296"/>
                <a:gd name="connsiteY2" fmla="*/ 17008 h 109728"/>
                <a:gd name="connsiteX3" fmla="*/ 33833 w 82296"/>
                <a:gd name="connsiteY3" fmla="*/ 116129 h 109728"/>
                <a:gd name="connsiteX4" fmla="*/ 51298 w 82296"/>
                <a:gd name="connsiteY4" fmla="*/ 116129 h 109728"/>
                <a:gd name="connsiteX5" fmla="*/ 51298 w 82296"/>
                <a:gd name="connsiteY5" fmla="*/ 17008 h 109728"/>
                <a:gd name="connsiteX6" fmla="*/ 85131 w 82296"/>
                <a:gd name="connsiteY6" fmla="*/ 17008 h 109728"/>
                <a:gd name="connsiteX7" fmla="*/ 85131 w 82296"/>
                <a:gd name="connsiteY7" fmla="*/ 0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296" h="109728">
                  <a:moveTo>
                    <a:pt x="0" y="0"/>
                  </a:moveTo>
                  <a:lnTo>
                    <a:pt x="0" y="17008"/>
                  </a:lnTo>
                  <a:lnTo>
                    <a:pt x="33833" y="17008"/>
                  </a:lnTo>
                  <a:lnTo>
                    <a:pt x="33833" y="116129"/>
                  </a:lnTo>
                  <a:lnTo>
                    <a:pt x="51298" y="116129"/>
                  </a:lnTo>
                  <a:lnTo>
                    <a:pt x="51298" y="17008"/>
                  </a:lnTo>
                  <a:lnTo>
                    <a:pt x="85131" y="17008"/>
                  </a:lnTo>
                  <a:lnTo>
                    <a:pt x="85131"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10" name="Graphic 2">
              <a:extLst>
                <a:ext uri="{FF2B5EF4-FFF2-40B4-BE49-F238E27FC236}">
                  <a16:creationId xmlns:a16="http://schemas.microsoft.com/office/drawing/2014/main" id="{69916B0C-9B62-4073-A26B-3F4B3A5DFA66}"/>
                </a:ext>
              </a:extLst>
            </p:cNvPr>
            <p:cNvGrpSpPr/>
            <p:nvPr/>
          </p:nvGrpSpPr>
          <p:grpSpPr>
            <a:xfrm>
              <a:off x="712445" y="6033668"/>
              <a:ext cx="1655064" cy="146304"/>
              <a:chOff x="712445" y="6033668"/>
              <a:chExt cx="1655064" cy="146304"/>
            </a:xfrm>
            <a:solidFill>
              <a:srgbClr val="FFFFFF"/>
            </a:solidFill>
          </p:grpSpPr>
          <p:sp>
            <p:nvSpPr>
              <p:cNvPr id="11" name="Freeform: Shape 10">
                <a:extLst>
                  <a:ext uri="{FF2B5EF4-FFF2-40B4-BE49-F238E27FC236}">
                    <a16:creationId xmlns:a16="http://schemas.microsoft.com/office/drawing/2014/main" id="{900E331F-A8EE-4CB1-9BFA-6D0CBE06D2CE}"/>
                  </a:ext>
                </a:extLst>
              </p:cNvPr>
              <p:cNvSpPr/>
              <p:nvPr/>
            </p:nvSpPr>
            <p:spPr>
              <a:xfrm>
                <a:off x="712445" y="6033760"/>
                <a:ext cx="64008" cy="118872"/>
              </a:xfrm>
              <a:custGeom>
                <a:avLst/>
                <a:gdLst>
                  <a:gd name="connsiteX0" fmla="*/ 52944 w 64008"/>
                  <a:gd name="connsiteY0" fmla="*/ 120884 h 118872"/>
                  <a:gd name="connsiteX1" fmla="*/ 52944 w 64008"/>
                  <a:gd name="connsiteY1" fmla="*/ 71598 h 118872"/>
                  <a:gd name="connsiteX2" fmla="*/ 48646 w 64008"/>
                  <a:gd name="connsiteY2" fmla="*/ 53584 h 118872"/>
                  <a:gd name="connsiteX3" fmla="*/ 35022 w 64008"/>
                  <a:gd name="connsiteY3" fmla="*/ 47640 h 118872"/>
                  <a:gd name="connsiteX4" fmla="*/ 27706 w 64008"/>
                  <a:gd name="connsiteY4" fmla="*/ 48920 h 118872"/>
                  <a:gd name="connsiteX5" fmla="*/ 21946 w 64008"/>
                  <a:gd name="connsiteY5" fmla="*/ 53218 h 118872"/>
                  <a:gd name="connsiteX6" fmla="*/ 18288 w 64008"/>
                  <a:gd name="connsiteY6" fmla="*/ 60259 h 118872"/>
                  <a:gd name="connsiteX7" fmla="*/ 17099 w 64008"/>
                  <a:gd name="connsiteY7" fmla="*/ 69860 h 118872"/>
                  <a:gd name="connsiteX8" fmla="*/ 17099 w 64008"/>
                  <a:gd name="connsiteY8" fmla="*/ 120792 h 118872"/>
                  <a:gd name="connsiteX9" fmla="*/ 0 w 64008"/>
                  <a:gd name="connsiteY9" fmla="*/ 120792 h 118872"/>
                  <a:gd name="connsiteX10" fmla="*/ 0 w 64008"/>
                  <a:gd name="connsiteY10" fmla="*/ 8961 h 118872"/>
                  <a:gd name="connsiteX11" fmla="*/ 17099 w 64008"/>
                  <a:gd name="connsiteY11" fmla="*/ 0 h 118872"/>
                  <a:gd name="connsiteX12" fmla="*/ 17099 w 64008"/>
                  <a:gd name="connsiteY12" fmla="*/ 42154 h 118872"/>
                  <a:gd name="connsiteX13" fmla="*/ 21031 w 64008"/>
                  <a:gd name="connsiteY13" fmla="*/ 37948 h 118872"/>
                  <a:gd name="connsiteX14" fmla="*/ 26243 w 64008"/>
                  <a:gd name="connsiteY14" fmla="*/ 34747 h 118872"/>
                  <a:gd name="connsiteX15" fmla="*/ 32278 w 64008"/>
                  <a:gd name="connsiteY15" fmla="*/ 32736 h 118872"/>
                  <a:gd name="connsiteX16" fmla="*/ 38953 w 64008"/>
                  <a:gd name="connsiteY16" fmla="*/ 32004 h 118872"/>
                  <a:gd name="connsiteX17" fmla="*/ 52578 w 64008"/>
                  <a:gd name="connsiteY17" fmla="*/ 34473 h 118872"/>
                  <a:gd name="connsiteX18" fmla="*/ 62271 w 64008"/>
                  <a:gd name="connsiteY18" fmla="*/ 41880 h 118872"/>
                  <a:gd name="connsiteX19" fmla="*/ 68123 w 64008"/>
                  <a:gd name="connsiteY19" fmla="*/ 54315 h 118872"/>
                  <a:gd name="connsiteX20" fmla="*/ 70043 w 64008"/>
                  <a:gd name="connsiteY20" fmla="*/ 70957 h 118872"/>
                  <a:gd name="connsiteX21" fmla="*/ 70043 w 64008"/>
                  <a:gd name="connsiteY21" fmla="*/ 120884 h 118872"/>
                  <a:gd name="connsiteX22" fmla="*/ 52944 w 64008"/>
                  <a:gd name="connsiteY22" fmla="*/ 120884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118872">
                    <a:moveTo>
                      <a:pt x="52944" y="120884"/>
                    </a:moveTo>
                    <a:lnTo>
                      <a:pt x="52944" y="71598"/>
                    </a:lnTo>
                    <a:cubicBezTo>
                      <a:pt x="52944" y="63551"/>
                      <a:pt x="51481" y="57516"/>
                      <a:pt x="48646" y="53584"/>
                    </a:cubicBezTo>
                    <a:cubicBezTo>
                      <a:pt x="45811" y="49652"/>
                      <a:pt x="41239" y="47640"/>
                      <a:pt x="35022" y="47640"/>
                    </a:cubicBezTo>
                    <a:cubicBezTo>
                      <a:pt x="32370" y="47640"/>
                      <a:pt x="29901" y="48097"/>
                      <a:pt x="27706" y="48920"/>
                    </a:cubicBezTo>
                    <a:cubicBezTo>
                      <a:pt x="25420" y="49743"/>
                      <a:pt x="23500" y="51206"/>
                      <a:pt x="21946" y="53218"/>
                    </a:cubicBezTo>
                    <a:cubicBezTo>
                      <a:pt x="20300" y="55230"/>
                      <a:pt x="19111" y="57607"/>
                      <a:pt x="18288" y="60259"/>
                    </a:cubicBezTo>
                    <a:cubicBezTo>
                      <a:pt x="17465" y="63002"/>
                      <a:pt x="17099" y="66111"/>
                      <a:pt x="17099" y="69860"/>
                    </a:cubicBezTo>
                    <a:lnTo>
                      <a:pt x="17099" y="120792"/>
                    </a:lnTo>
                    <a:lnTo>
                      <a:pt x="0" y="120792"/>
                    </a:lnTo>
                    <a:lnTo>
                      <a:pt x="0" y="8961"/>
                    </a:lnTo>
                    <a:lnTo>
                      <a:pt x="17099" y="0"/>
                    </a:lnTo>
                    <a:lnTo>
                      <a:pt x="17099" y="42154"/>
                    </a:lnTo>
                    <a:cubicBezTo>
                      <a:pt x="18197" y="40599"/>
                      <a:pt x="19477" y="39136"/>
                      <a:pt x="21031" y="37948"/>
                    </a:cubicBezTo>
                    <a:cubicBezTo>
                      <a:pt x="22586" y="36667"/>
                      <a:pt x="24323" y="35570"/>
                      <a:pt x="26243" y="34747"/>
                    </a:cubicBezTo>
                    <a:cubicBezTo>
                      <a:pt x="28164" y="33924"/>
                      <a:pt x="30175" y="33193"/>
                      <a:pt x="32278" y="32736"/>
                    </a:cubicBezTo>
                    <a:cubicBezTo>
                      <a:pt x="34473" y="32278"/>
                      <a:pt x="36667" y="32004"/>
                      <a:pt x="38953" y="32004"/>
                    </a:cubicBezTo>
                    <a:cubicBezTo>
                      <a:pt x="44166" y="32004"/>
                      <a:pt x="48738" y="32827"/>
                      <a:pt x="52578" y="34473"/>
                    </a:cubicBezTo>
                    <a:cubicBezTo>
                      <a:pt x="56418" y="36119"/>
                      <a:pt x="59619" y="38588"/>
                      <a:pt x="62271" y="41880"/>
                    </a:cubicBezTo>
                    <a:cubicBezTo>
                      <a:pt x="64922" y="45171"/>
                      <a:pt x="66843" y="49286"/>
                      <a:pt x="68123" y="54315"/>
                    </a:cubicBezTo>
                    <a:cubicBezTo>
                      <a:pt x="69403" y="59345"/>
                      <a:pt x="70043" y="64922"/>
                      <a:pt x="70043" y="70957"/>
                    </a:cubicBezTo>
                    <a:lnTo>
                      <a:pt x="70043" y="120884"/>
                    </a:lnTo>
                    <a:lnTo>
                      <a:pt x="52944" y="12088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2" name="Freeform: Shape 11">
                <a:extLst>
                  <a:ext uri="{FF2B5EF4-FFF2-40B4-BE49-F238E27FC236}">
                    <a16:creationId xmlns:a16="http://schemas.microsoft.com/office/drawing/2014/main" id="{4113CC86-12C8-4181-BB1C-811C8CA0E999}"/>
                  </a:ext>
                </a:extLst>
              </p:cNvPr>
              <p:cNvSpPr/>
              <p:nvPr/>
            </p:nvSpPr>
            <p:spPr>
              <a:xfrm>
                <a:off x="799587" y="6065581"/>
                <a:ext cx="73152" cy="82296"/>
              </a:xfrm>
              <a:custGeom>
                <a:avLst/>
                <a:gdLst>
                  <a:gd name="connsiteX0" fmla="*/ 57516 w 73152"/>
                  <a:gd name="connsiteY0" fmla="*/ 37490 h 82296"/>
                  <a:gd name="connsiteX1" fmla="*/ 55961 w 73152"/>
                  <a:gd name="connsiteY1" fmla="*/ 29078 h 82296"/>
                  <a:gd name="connsiteX2" fmla="*/ 52212 w 73152"/>
                  <a:gd name="connsiteY2" fmla="*/ 22128 h 82296"/>
                  <a:gd name="connsiteX3" fmla="*/ 45994 w 73152"/>
                  <a:gd name="connsiteY3" fmla="*/ 17374 h 82296"/>
                  <a:gd name="connsiteX4" fmla="*/ 36942 w 73152"/>
                  <a:gd name="connsiteY4" fmla="*/ 15636 h 82296"/>
                  <a:gd name="connsiteX5" fmla="*/ 28986 w 73152"/>
                  <a:gd name="connsiteY5" fmla="*/ 17099 h 82296"/>
                  <a:gd name="connsiteX6" fmla="*/ 23134 w 73152"/>
                  <a:gd name="connsiteY6" fmla="*/ 21397 h 82296"/>
                  <a:gd name="connsiteX7" fmla="*/ 19111 w 73152"/>
                  <a:gd name="connsiteY7" fmla="*/ 28164 h 82296"/>
                  <a:gd name="connsiteX8" fmla="*/ 16916 w 73152"/>
                  <a:gd name="connsiteY8" fmla="*/ 37490 h 82296"/>
                  <a:gd name="connsiteX9" fmla="*/ 57516 w 73152"/>
                  <a:gd name="connsiteY9" fmla="*/ 37490 h 82296"/>
                  <a:gd name="connsiteX10" fmla="*/ 74706 w 73152"/>
                  <a:gd name="connsiteY10" fmla="*/ 43800 h 82296"/>
                  <a:gd name="connsiteX11" fmla="*/ 74524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8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03 w 73152"/>
                  <a:gd name="connsiteY39" fmla="*/ 26975 h 82296"/>
                  <a:gd name="connsiteX40" fmla="*/ 74706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516" y="37490"/>
                    </a:moveTo>
                    <a:cubicBezTo>
                      <a:pt x="57333" y="34564"/>
                      <a:pt x="56784" y="31730"/>
                      <a:pt x="55961" y="29078"/>
                    </a:cubicBezTo>
                    <a:cubicBezTo>
                      <a:pt x="55138" y="26426"/>
                      <a:pt x="53858" y="24140"/>
                      <a:pt x="52212" y="22128"/>
                    </a:cubicBezTo>
                    <a:cubicBezTo>
                      <a:pt x="50566" y="20117"/>
                      <a:pt x="48463" y="18562"/>
                      <a:pt x="45994" y="17374"/>
                    </a:cubicBezTo>
                    <a:cubicBezTo>
                      <a:pt x="43434" y="16185"/>
                      <a:pt x="40508" y="15636"/>
                      <a:pt x="36942" y="15636"/>
                    </a:cubicBezTo>
                    <a:cubicBezTo>
                      <a:pt x="33924" y="15636"/>
                      <a:pt x="31272" y="16093"/>
                      <a:pt x="28986" y="17099"/>
                    </a:cubicBezTo>
                    <a:cubicBezTo>
                      <a:pt x="26700" y="18105"/>
                      <a:pt x="24780" y="19477"/>
                      <a:pt x="23134" y="21397"/>
                    </a:cubicBezTo>
                    <a:cubicBezTo>
                      <a:pt x="21488" y="23226"/>
                      <a:pt x="20208" y="25512"/>
                      <a:pt x="19111" y="28164"/>
                    </a:cubicBezTo>
                    <a:cubicBezTo>
                      <a:pt x="18014" y="30815"/>
                      <a:pt x="17374" y="33924"/>
                      <a:pt x="16916" y="37490"/>
                    </a:cubicBezTo>
                    <a:lnTo>
                      <a:pt x="57516" y="37490"/>
                    </a:lnTo>
                    <a:close/>
                    <a:moveTo>
                      <a:pt x="74706" y="43800"/>
                    </a:moveTo>
                    <a:cubicBezTo>
                      <a:pt x="74706" y="45354"/>
                      <a:pt x="74615" y="46817"/>
                      <a:pt x="74524" y="48189"/>
                    </a:cubicBezTo>
                    <a:cubicBezTo>
                      <a:pt x="74432" y="49560"/>
                      <a:pt x="74341" y="50658"/>
                      <a:pt x="74249" y="51572"/>
                    </a:cubicBezTo>
                    <a:lnTo>
                      <a:pt x="16642" y="51572"/>
                    </a:lnTo>
                    <a:cubicBezTo>
                      <a:pt x="17099" y="55778"/>
                      <a:pt x="18105"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8" y="73518"/>
                    </a:cubicBezTo>
                    <a:cubicBezTo>
                      <a:pt x="50292" y="72878"/>
                      <a:pt x="51664" y="72238"/>
                      <a:pt x="52852" y="71506"/>
                    </a:cubicBezTo>
                    <a:cubicBezTo>
                      <a:pt x="54041" y="70866"/>
                      <a:pt x="55596" y="69769"/>
                      <a:pt x="57516" y="68489"/>
                    </a:cubicBezTo>
                    <a:lnTo>
                      <a:pt x="67666" y="79370"/>
                    </a:lnTo>
                    <a:cubicBezTo>
                      <a:pt x="65471" y="81382"/>
                      <a:pt x="63459" y="83119"/>
                      <a:pt x="61448" y="84308"/>
                    </a:cubicBezTo>
                    <a:cubicBezTo>
                      <a:pt x="59436"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469" y="63642"/>
                      <a:pt x="1463" y="59345"/>
                    </a:cubicBezTo>
                    <a:cubicBezTo>
                      <a:pt x="457" y="55138"/>
                      <a:pt x="0" y="50475"/>
                      <a:pt x="0" y="45446"/>
                    </a:cubicBezTo>
                    <a:cubicBezTo>
                      <a:pt x="0" y="38130"/>
                      <a:pt x="914" y="31547"/>
                      <a:pt x="2835" y="25878"/>
                    </a:cubicBezTo>
                    <a:cubicBezTo>
                      <a:pt x="4663" y="20208"/>
                      <a:pt x="7315" y="15453"/>
                      <a:pt x="10698" y="11613"/>
                    </a:cubicBezTo>
                    <a:cubicBezTo>
                      <a:pt x="14082" y="7772"/>
                      <a:pt x="18105"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03" y="26975"/>
                    </a:cubicBezTo>
                    <a:cubicBezTo>
                      <a:pt x="73975" y="32278"/>
                      <a:pt x="74706" y="37856"/>
                      <a:pt x="74706"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3" name="Freeform: Shape 12">
                <a:extLst>
                  <a:ext uri="{FF2B5EF4-FFF2-40B4-BE49-F238E27FC236}">
                    <a16:creationId xmlns:a16="http://schemas.microsoft.com/office/drawing/2014/main" id="{129216EF-AF30-4B33-A782-CD23AD374B2C}"/>
                  </a:ext>
                </a:extLst>
              </p:cNvPr>
              <p:cNvSpPr/>
              <p:nvPr/>
            </p:nvSpPr>
            <p:spPr>
              <a:xfrm>
                <a:off x="933729" y="6033668"/>
                <a:ext cx="73152" cy="118872"/>
              </a:xfrm>
              <a:custGeom>
                <a:avLst/>
                <a:gdLst>
                  <a:gd name="connsiteX0" fmla="*/ 56053 w 73152"/>
                  <a:gd name="connsiteY0" fmla="*/ 79370 h 118872"/>
                  <a:gd name="connsiteX1" fmla="*/ 51024 w 73152"/>
                  <a:gd name="connsiteY1" fmla="*/ 55413 h 118872"/>
                  <a:gd name="connsiteX2" fmla="*/ 36485 w 73152"/>
                  <a:gd name="connsiteY2" fmla="*/ 47823 h 118872"/>
                  <a:gd name="connsiteX3" fmla="*/ 30632 w 73152"/>
                  <a:gd name="connsiteY3" fmla="*/ 48738 h 118872"/>
                  <a:gd name="connsiteX4" fmla="*/ 25329 w 73152"/>
                  <a:gd name="connsiteY4" fmla="*/ 51206 h 118872"/>
                  <a:gd name="connsiteX5" fmla="*/ 20665 w 73152"/>
                  <a:gd name="connsiteY5" fmla="*/ 54773 h 118872"/>
                  <a:gd name="connsiteX6" fmla="*/ 16825 w 73152"/>
                  <a:gd name="connsiteY6" fmla="*/ 58887 h 118872"/>
                  <a:gd name="connsiteX7" fmla="*/ 16825 w 73152"/>
                  <a:gd name="connsiteY7" fmla="*/ 95555 h 118872"/>
                  <a:gd name="connsiteX8" fmla="*/ 20391 w 73152"/>
                  <a:gd name="connsiteY8" fmla="*/ 99487 h 118872"/>
                  <a:gd name="connsiteX9" fmla="*/ 25237 w 73152"/>
                  <a:gd name="connsiteY9" fmla="*/ 103144 h 118872"/>
                  <a:gd name="connsiteX10" fmla="*/ 30907 w 73152"/>
                  <a:gd name="connsiteY10" fmla="*/ 105888 h 118872"/>
                  <a:gd name="connsiteX11" fmla="*/ 37216 w 73152"/>
                  <a:gd name="connsiteY11" fmla="*/ 106893 h 118872"/>
                  <a:gd name="connsiteX12" fmla="*/ 51389 w 73152"/>
                  <a:gd name="connsiteY12" fmla="*/ 99944 h 118872"/>
                  <a:gd name="connsiteX13" fmla="*/ 56053 w 73152"/>
                  <a:gd name="connsiteY13" fmla="*/ 79370 h 118872"/>
                  <a:gd name="connsiteX14" fmla="*/ 73152 w 73152"/>
                  <a:gd name="connsiteY14" fmla="*/ 78821 h 118872"/>
                  <a:gd name="connsiteX15" fmla="*/ 70317 w 73152"/>
                  <a:gd name="connsiteY15" fmla="*/ 98298 h 118872"/>
                  <a:gd name="connsiteX16" fmla="*/ 62728 w 73152"/>
                  <a:gd name="connsiteY16" fmla="*/ 112014 h 118872"/>
                  <a:gd name="connsiteX17" fmla="*/ 51755 w 73152"/>
                  <a:gd name="connsiteY17" fmla="*/ 120152 h 118872"/>
                  <a:gd name="connsiteX18" fmla="*/ 38771 w 73152"/>
                  <a:gd name="connsiteY18" fmla="*/ 122804 h 118872"/>
                  <a:gd name="connsiteX19" fmla="*/ 26518 w 73152"/>
                  <a:gd name="connsiteY19" fmla="*/ 119878 h 118872"/>
                  <a:gd name="connsiteX20" fmla="*/ 16825 w 73152"/>
                  <a:gd name="connsiteY20" fmla="*/ 112837 h 118872"/>
                  <a:gd name="connsiteX21" fmla="*/ 16825 w 73152"/>
                  <a:gd name="connsiteY21" fmla="*/ 120975 h 118872"/>
                  <a:gd name="connsiteX22" fmla="*/ 0 w 73152"/>
                  <a:gd name="connsiteY22" fmla="*/ 120975 h 118872"/>
                  <a:gd name="connsiteX23" fmla="*/ 0 w 73152"/>
                  <a:gd name="connsiteY23" fmla="*/ 8870 h 118872"/>
                  <a:gd name="connsiteX24" fmla="*/ 16916 w 73152"/>
                  <a:gd name="connsiteY24" fmla="*/ 0 h 118872"/>
                  <a:gd name="connsiteX25" fmla="*/ 16916 w 73152"/>
                  <a:gd name="connsiteY25" fmla="*/ 42154 h 118872"/>
                  <a:gd name="connsiteX26" fmla="*/ 21763 w 73152"/>
                  <a:gd name="connsiteY26" fmla="*/ 38222 h 118872"/>
                  <a:gd name="connsiteX27" fmla="*/ 26335 w 73152"/>
                  <a:gd name="connsiteY27" fmla="*/ 35296 h 118872"/>
                  <a:gd name="connsiteX28" fmla="*/ 32004 w 73152"/>
                  <a:gd name="connsiteY28" fmla="*/ 33010 h 118872"/>
                  <a:gd name="connsiteX29" fmla="*/ 39502 w 73152"/>
                  <a:gd name="connsiteY29" fmla="*/ 32095 h 118872"/>
                  <a:gd name="connsiteX30" fmla="*/ 52669 w 73152"/>
                  <a:gd name="connsiteY30" fmla="*/ 34747 h 118872"/>
                  <a:gd name="connsiteX31" fmla="*/ 63368 w 73152"/>
                  <a:gd name="connsiteY31" fmla="*/ 43068 h 118872"/>
                  <a:gd name="connsiteX32" fmla="*/ 70500 w 73152"/>
                  <a:gd name="connsiteY32" fmla="*/ 57607 h 118872"/>
                  <a:gd name="connsiteX33" fmla="*/ 73152 w 73152"/>
                  <a:gd name="connsiteY33" fmla="*/ 78821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152" h="118872">
                    <a:moveTo>
                      <a:pt x="56053" y="79370"/>
                    </a:moveTo>
                    <a:cubicBezTo>
                      <a:pt x="56053" y="68489"/>
                      <a:pt x="54407" y="60442"/>
                      <a:pt x="51024" y="55413"/>
                    </a:cubicBezTo>
                    <a:cubicBezTo>
                      <a:pt x="47640" y="50383"/>
                      <a:pt x="42794" y="47823"/>
                      <a:pt x="36485" y="47823"/>
                    </a:cubicBezTo>
                    <a:cubicBezTo>
                      <a:pt x="34473" y="47823"/>
                      <a:pt x="32461" y="48097"/>
                      <a:pt x="30632" y="48738"/>
                    </a:cubicBezTo>
                    <a:cubicBezTo>
                      <a:pt x="28804" y="49378"/>
                      <a:pt x="26975" y="50201"/>
                      <a:pt x="25329" y="51206"/>
                    </a:cubicBezTo>
                    <a:cubicBezTo>
                      <a:pt x="23592" y="52212"/>
                      <a:pt x="22037" y="53401"/>
                      <a:pt x="20665" y="54773"/>
                    </a:cubicBezTo>
                    <a:cubicBezTo>
                      <a:pt x="19202" y="56144"/>
                      <a:pt x="17922" y="57516"/>
                      <a:pt x="16825" y="58887"/>
                    </a:cubicBezTo>
                    <a:lnTo>
                      <a:pt x="16825" y="95555"/>
                    </a:lnTo>
                    <a:cubicBezTo>
                      <a:pt x="17831" y="96835"/>
                      <a:pt x="19020" y="98207"/>
                      <a:pt x="20391" y="99487"/>
                    </a:cubicBezTo>
                    <a:cubicBezTo>
                      <a:pt x="21854" y="100858"/>
                      <a:pt x="23409" y="102047"/>
                      <a:pt x="25237" y="103144"/>
                    </a:cubicBezTo>
                    <a:cubicBezTo>
                      <a:pt x="26975" y="104242"/>
                      <a:pt x="28895" y="105156"/>
                      <a:pt x="30907" y="105888"/>
                    </a:cubicBezTo>
                    <a:cubicBezTo>
                      <a:pt x="32918" y="106619"/>
                      <a:pt x="35022" y="106893"/>
                      <a:pt x="37216" y="106893"/>
                    </a:cubicBezTo>
                    <a:cubicBezTo>
                      <a:pt x="43434" y="106893"/>
                      <a:pt x="48097" y="104607"/>
                      <a:pt x="51389" y="99944"/>
                    </a:cubicBezTo>
                    <a:cubicBezTo>
                      <a:pt x="54498" y="95463"/>
                      <a:pt x="56053" y="88514"/>
                      <a:pt x="56053" y="79370"/>
                    </a:cubicBezTo>
                    <a:moveTo>
                      <a:pt x="73152" y="78821"/>
                    </a:moveTo>
                    <a:cubicBezTo>
                      <a:pt x="73152" y="86228"/>
                      <a:pt x="72238" y="92720"/>
                      <a:pt x="70317" y="98298"/>
                    </a:cubicBezTo>
                    <a:cubicBezTo>
                      <a:pt x="68397" y="103784"/>
                      <a:pt x="65928" y="108356"/>
                      <a:pt x="62728" y="112014"/>
                    </a:cubicBezTo>
                    <a:cubicBezTo>
                      <a:pt x="59527" y="115672"/>
                      <a:pt x="55961" y="118323"/>
                      <a:pt x="51755" y="120152"/>
                    </a:cubicBezTo>
                    <a:cubicBezTo>
                      <a:pt x="47640" y="121890"/>
                      <a:pt x="43343" y="122804"/>
                      <a:pt x="38771" y="122804"/>
                    </a:cubicBezTo>
                    <a:cubicBezTo>
                      <a:pt x="34564" y="122804"/>
                      <a:pt x="30450" y="121798"/>
                      <a:pt x="26518" y="119878"/>
                    </a:cubicBezTo>
                    <a:cubicBezTo>
                      <a:pt x="22586" y="117958"/>
                      <a:pt x="19385" y="115580"/>
                      <a:pt x="16825" y="112837"/>
                    </a:cubicBezTo>
                    <a:lnTo>
                      <a:pt x="16825" y="120975"/>
                    </a:lnTo>
                    <a:lnTo>
                      <a:pt x="0" y="120975"/>
                    </a:lnTo>
                    <a:lnTo>
                      <a:pt x="0" y="8870"/>
                    </a:lnTo>
                    <a:lnTo>
                      <a:pt x="16916" y="0"/>
                    </a:lnTo>
                    <a:lnTo>
                      <a:pt x="16916" y="42154"/>
                    </a:lnTo>
                    <a:cubicBezTo>
                      <a:pt x="18654" y="40508"/>
                      <a:pt x="20300" y="39228"/>
                      <a:pt x="21763" y="38222"/>
                    </a:cubicBezTo>
                    <a:cubicBezTo>
                      <a:pt x="23226" y="37216"/>
                      <a:pt x="24780" y="36210"/>
                      <a:pt x="26335" y="35296"/>
                    </a:cubicBezTo>
                    <a:cubicBezTo>
                      <a:pt x="27981" y="34381"/>
                      <a:pt x="29809" y="33650"/>
                      <a:pt x="32004" y="33010"/>
                    </a:cubicBezTo>
                    <a:cubicBezTo>
                      <a:pt x="34199" y="32370"/>
                      <a:pt x="36667" y="32095"/>
                      <a:pt x="39502" y="32095"/>
                    </a:cubicBezTo>
                    <a:cubicBezTo>
                      <a:pt x="44166" y="32095"/>
                      <a:pt x="48555" y="33010"/>
                      <a:pt x="52669" y="34747"/>
                    </a:cubicBezTo>
                    <a:cubicBezTo>
                      <a:pt x="56693" y="36485"/>
                      <a:pt x="60259" y="39228"/>
                      <a:pt x="63368" y="43068"/>
                    </a:cubicBezTo>
                    <a:cubicBezTo>
                      <a:pt x="66385" y="46817"/>
                      <a:pt x="68763" y="51664"/>
                      <a:pt x="70500" y="57607"/>
                    </a:cubicBezTo>
                    <a:cubicBezTo>
                      <a:pt x="72329" y="63368"/>
                      <a:pt x="73152" y="70500"/>
                      <a:pt x="73152" y="78821"/>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Freeform: Shape 13">
                <a:extLst>
                  <a:ext uri="{FF2B5EF4-FFF2-40B4-BE49-F238E27FC236}">
                    <a16:creationId xmlns:a16="http://schemas.microsoft.com/office/drawing/2014/main" id="{28263E36-EE00-4B6C-A77F-BA6197368E3F}"/>
                  </a:ext>
                </a:extLst>
              </p:cNvPr>
              <p:cNvSpPr/>
              <p:nvPr/>
            </p:nvSpPr>
            <p:spPr>
              <a:xfrm>
                <a:off x="1020872" y="6065581"/>
                <a:ext cx="73152" cy="82296"/>
              </a:xfrm>
              <a:custGeom>
                <a:avLst/>
                <a:gdLst>
                  <a:gd name="connsiteX0" fmla="*/ 57516 w 73152"/>
                  <a:gd name="connsiteY0" fmla="*/ 37490 h 82296"/>
                  <a:gd name="connsiteX1" fmla="*/ 55961 w 73152"/>
                  <a:gd name="connsiteY1" fmla="*/ 29078 h 82296"/>
                  <a:gd name="connsiteX2" fmla="*/ 52212 w 73152"/>
                  <a:gd name="connsiteY2" fmla="*/ 22128 h 82296"/>
                  <a:gd name="connsiteX3" fmla="*/ 45994 w 73152"/>
                  <a:gd name="connsiteY3" fmla="*/ 17374 h 82296"/>
                  <a:gd name="connsiteX4" fmla="*/ 36942 w 73152"/>
                  <a:gd name="connsiteY4" fmla="*/ 15636 h 82296"/>
                  <a:gd name="connsiteX5" fmla="*/ 28986 w 73152"/>
                  <a:gd name="connsiteY5" fmla="*/ 17099 h 82296"/>
                  <a:gd name="connsiteX6" fmla="*/ 23134 w 73152"/>
                  <a:gd name="connsiteY6" fmla="*/ 21397 h 82296"/>
                  <a:gd name="connsiteX7" fmla="*/ 19111 w 73152"/>
                  <a:gd name="connsiteY7" fmla="*/ 28164 h 82296"/>
                  <a:gd name="connsiteX8" fmla="*/ 16916 w 73152"/>
                  <a:gd name="connsiteY8" fmla="*/ 37490 h 82296"/>
                  <a:gd name="connsiteX9" fmla="*/ 57516 w 73152"/>
                  <a:gd name="connsiteY9" fmla="*/ 37490 h 82296"/>
                  <a:gd name="connsiteX10" fmla="*/ 74706 w 73152"/>
                  <a:gd name="connsiteY10" fmla="*/ 43800 h 82296"/>
                  <a:gd name="connsiteX11" fmla="*/ 74524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8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07 w 73152"/>
                  <a:gd name="connsiteY34" fmla="*/ 11613 h 82296"/>
                  <a:gd name="connsiteX35" fmla="*/ 22677 w 73152"/>
                  <a:gd name="connsiteY35" fmla="*/ 2926 h 82296"/>
                  <a:gd name="connsiteX36" fmla="*/ 38130 w 73152"/>
                  <a:gd name="connsiteY36" fmla="*/ 0 h 82296"/>
                  <a:gd name="connsiteX37" fmla="*/ 54315 w 73152"/>
                  <a:gd name="connsiteY37" fmla="*/ 3566 h 82296"/>
                  <a:gd name="connsiteX38" fmla="*/ 65745 w 73152"/>
                  <a:gd name="connsiteY38" fmla="*/ 13076 h 82296"/>
                  <a:gd name="connsiteX39" fmla="*/ 72512 w 73152"/>
                  <a:gd name="connsiteY39" fmla="*/ 26975 h 82296"/>
                  <a:gd name="connsiteX40" fmla="*/ 74706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516" y="37490"/>
                    </a:moveTo>
                    <a:cubicBezTo>
                      <a:pt x="57241" y="34564"/>
                      <a:pt x="56784" y="31730"/>
                      <a:pt x="55961" y="29078"/>
                    </a:cubicBezTo>
                    <a:cubicBezTo>
                      <a:pt x="55138" y="26426"/>
                      <a:pt x="53858" y="24140"/>
                      <a:pt x="52212" y="22128"/>
                    </a:cubicBezTo>
                    <a:cubicBezTo>
                      <a:pt x="50566" y="20117"/>
                      <a:pt x="48463" y="18562"/>
                      <a:pt x="45994" y="17374"/>
                    </a:cubicBezTo>
                    <a:cubicBezTo>
                      <a:pt x="43434" y="16185"/>
                      <a:pt x="40508" y="15636"/>
                      <a:pt x="36942" y="15636"/>
                    </a:cubicBezTo>
                    <a:cubicBezTo>
                      <a:pt x="33924" y="15636"/>
                      <a:pt x="31272" y="16093"/>
                      <a:pt x="28986" y="17099"/>
                    </a:cubicBezTo>
                    <a:cubicBezTo>
                      <a:pt x="26700" y="18105"/>
                      <a:pt x="24780" y="19477"/>
                      <a:pt x="23134" y="21397"/>
                    </a:cubicBezTo>
                    <a:cubicBezTo>
                      <a:pt x="21488" y="23226"/>
                      <a:pt x="20208" y="25512"/>
                      <a:pt x="19111" y="28164"/>
                    </a:cubicBezTo>
                    <a:cubicBezTo>
                      <a:pt x="18014" y="30815"/>
                      <a:pt x="17374" y="33924"/>
                      <a:pt x="16916" y="37490"/>
                    </a:cubicBezTo>
                    <a:lnTo>
                      <a:pt x="57516" y="37490"/>
                    </a:lnTo>
                    <a:close/>
                    <a:moveTo>
                      <a:pt x="74706" y="43800"/>
                    </a:moveTo>
                    <a:cubicBezTo>
                      <a:pt x="74706" y="45354"/>
                      <a:pt x="74615" y="46817"/>
                      <a:pt x="74524" y="48189"/>
                    </a:cubicBezTo>
                    <a:cubicBezTo>
                      <a:pt x="74432" y="49560"/>
                      <a:pt x="74341" y="50658"/>
                      <a:pt x="74249" y="51572"/>
                    </a:cubicBezTo>
                    <a:lnTo>
                      <a:pt x="16642" y="51572"/>
                    </a:lnTo>
                    <a:cubicBezTo>
                      <a:pt x="17099"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8" y="73518"/>
                    </a:cubicBezTo>
                    <a:cubicBezTo>
                      <a:pt x="50292" y="72878"/>
                      <a:pt x="51664" y="72238"/>
                      <a:pt x="52852" y="71506"/>
                    </a:cubicBezTo>
                    <a:cubicBezTo>
                      <a:pt x="54041" y="70866"/>
                      <a:pt x="55596" y="69769"/>
                      <a:pt x="57516" y="68489"/>
                    </a:cubicBezTo>
                    <a:lnTo>
                      <a:pt x="67666" y="79370"/>
                    </a:lnTo>
                    <a:cubicBezTo>
                      <a:pt x="65471" y="81382"/>
                      <a:pt x="63459" y="83119"/>
                      <a:pt x="61448" y="84308"/>
                    </a:cubicBezTo>
                    <a:cubicBezTo>
                      <a:pt x="59436"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469" y="63642"/>
                      <a:pt x="1463" y="59345"/>
                    </a:cubicBezTo>
                    <a:cubicBezTo>
                      <a:pt x="457" y="55138"/>
                      <a:pt x="0" y="50475"/>
                      <a:pt x="0" y="45446"/>
                    </a:cubicBezTo>
                    <a:cubicBezTo>
                      <a:pt x="0" y="38130"/>
                      <a:pt x="914" y="31547"/>
                      <a:pt x="2835" y="25878"/>
                    </a:cubicBezTo>
                    <a:cubicBezTo>
                      <a:pt x="4663" y="20208"/>
                      <a:pt x="7315" y="15453"/>
                      <a:pt x="10607" y="11613"/>
                    </a:cubicBezTo>
                    <a:cubicBezTo>
                      <a:pt x="13990" y="7772"/>
                      <a:pt x="18014" y="4846"/>
                      <a:pt x="22677" y="2926"/>
                    </a:cubicBezTo>
                    <a:cubicBezTo>
                      <a:pt x="27341" y="914"/>
                      <a:pt x="32553" y="0"/>
                      <a:pt x="38130" y="0"/>
                    </a:cubicBezTo>
                    <a:cubicBezTo>
                      <a:pt x="44348" y="0"/>
                      <a:pt x="49743" y="1189"/>
                      <a:pt x="54315" y="3566"/>
                    </a:cubicBezTo>
                    <a:cubicBezTo>
                      <a:pt x="58887" y="5944"/>
                      <a:pt x="62728" y="9053"/>
                      <a:pt x="65745" y="13076"/>
                    </a:cubicBezTo>
                    <a:cubicBezTo>
                      <a:pt x="68763" y="17008"/>
                      <a:pt x="71049" y="21671"/>
                      <a:pt x="72512" y="26975"/>
                    </a:cubicBezTo>
                    <a:cubicBezTo>
                      <a:pt x="73975" y="32278"/>
                      <a:pt x="74706" y="37856"/>
                      <a:pt x="74706"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Freeform: Shape 14">
                <a:extLst>
                  <a:ext uri="{FF2B5EF4-FFF2-40B4-BE49-F238E27FC236}">
                    <a16:creationId xmlns:a16="http://schemas.microsoft.com/office/drawing/2014/main" id="{197CCF05-BC25-4BCA-A66E-83F1C5A4699F}"/>
                  </a:ext>
                </a:extLst>
              </p:cNvPr>
              <p:cNvSpPr/>
              <p:nvPr/>
            </p:nvSpPr>
            <p:spPr>
              <a:xfrm>
                <a:off x="1105179" y="6033760"/>
                <a:ext cx="45720" cy="118872"/>
              </a:xfrm>
              <a:custGeom>
                <a:avLst/>
                <a:gdLst>
                  <a:gd name="connsiteX0" fmla="*/ 48738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9 w 45720"/>
                  <a:gd name="connsiteY20" fmla="*/ 106619 h 118872"/>
                  <a:gd name="connsiteX21" fmla="*/ 38222 w 45720"/>
                  <a:gd name="connsiteY21" fmla="*/ 107076 h 118872"/>
                  <a:gd name="connsiteX22" fmla="*/ 44989 w 45720"/>
                  <a:gd name="connsiteY22" fmla="*/ 105979 h 118872"/>
                  <a:gd name="connsiteX23" fmla="*/ 50749 w 45720"/>
                  <a:gd name="connsiteY23" fmla="*/ 103510 h 118872"/>
                  <a:gd name="connsiteX24" fmla="*/ 48738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8" y="118689"/>
                    </a:moveTo>
                    <a:cubicBezTo>
                      <a:pt x="46634" y="119878"/>
                      <a:pt x="44166" y="120884"/>
                      <a:pt x="41331" y="121615"/>
                    </a:cubicBezTo>
                    <a:cubicBezTo>
                      <a:pt x="38496" y="122347"/>
                      <a:pt x="35387" y="122712"/>
                      <a:pt x="32004" y="122712"/>
                    </a:cubicBezTo>
                    <a:cubicBezTo>
                      <a:pt x="29078" y="122712"/>
                      <a:pt x="26426" y="122255"/>
                      <a:pt x="24232" y="121432"/>
                    </a:cubicBezTo>
                    <a:cubicBezTo>
                      <a:pt x="22037"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3053"/>
                      <a:pt x="30632" y="104059"/>
                      <a:pt x="31364" y="104882"/>
                    </a:cubicBezTo>
                    <a:cubicBezTo>
                      <a:pt x="32095" y="105705"/>
                      <a:pt x="33010" y="106253"/>
                      <a:pt x="34199" y="106619"/>
                    </a:cubicBezTo>
                    <a:cubicBezTo>
                      <a:pt x="35296" y="106893"/>
                      <a:pt x="36667" y="107076"/>
                      <a:pt x="38222" y="107076"/>
                    </a:cubicBezTo>
                    <a:cubicBezTo>
                      <a:pt x="40417" y="107076"/>
                      <a:pt x="42703" y="106710"/>
                      <a:pt x="44989" y="105979"/>
                    </a:cubicBezTo>
                    <a:cubicBezTo>
                      <a:pt x="47275" y="105247"/>
                      <a:pt x="49195" y="104516"/>
                      <a:pt x="50749" y="103510"/>
                    </a:cubicBezTo>
                    <a:lnTo>
                      <a:pt x="48738"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6" name="Freeform: Shape 15">
                <a:extLst>
                  <a:ext uri="{FF2B5EF4-FFF2-40B4-BE49-F238E27FC236}">
                    <a16:creationId xmlns:a16="http://schemas.microsoft.com/office/drawing/2014/main" id="{DD754096-0A5E-4D51-9C0A-C46209C5B359}"/>
                  </a:ext>
                </a:extLst>
              </p:cNvPr>
              <p:cNvSpPr/>
              <p:nvPr/>
            </p:nvSpPr>
            <p:spPr>
              <a:xfrm>
                <a:off x="1166170" y="6033760"/>
                <a:ext cx="45720" cy="118872"/>
              </a:xfrm>
              <a:custGeom>
                <a:avLst/>
                <a:gdLst>
                  <a:gd name="connsiteX0" fmla="*/ 48738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658 w 45720"/>
                  <a:gd name="connsiteY14" fmla="*/ 33833 h 118872"/>
                  <a:gd name="connsiteX15" fmla="*/ 50658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07 w 45720"/>
                  <a:gd name="connsiteY20" fmla="*/ 106619 h 118872"/>
                  <a:gd name="connsiteX21" fmla="*/ 38131 w 45720"/>
                  <a:gd name="connsiteY21" fmla="*/ 107076 h 118872"/>
                  <a:gd name="connsiteX22" fmla="*/ 44897 w 45720"/>
                  <a:gd name="connsiteY22" fmla="*/ 105979 h 118872"/>
                  <a:gd name="connsiteX23" fmla="*/ 50658 w 45720"/>
                  <a:gd name="connsiteY23" fmla="*/ 103510 h 118872"/>
                  <a:gd name="connsiteX24" fmla="*/ 48738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8" y="118689"/>
                    </a:moveTo>
                    <a:cubicBezTo>
                      <a:pt x="46634" y="119878"/>
                      <a:pt x="44166" y="120884"/>
                      <a:pt x="41331" y="121615"/>
                    </a:cubicBezTo>
                    <a:cubicBezTo>
                      <a:pt x="38496" y="122347"/>
                      <a:pt x="35387" y="122712"/>
                      <a:pt x="32004" y="122712"/>
                    </a:cubicBezTo>
                    <a:cubicBezTo>
                      <a:pt x="29078" y="122712"/>
                      <a:pt x="26426" y="122255"/>
                      <a:pt x="24232" y="121432"/>
                    </a:cubicBezTo>
                    <a:cubicBezTo>
                      <a:pt x="21946"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658" y="33833"/>
                    </a:lnTo>
                    <a:lnTo>
                      <a:pt x="50658" y="49378"/>
                    </a:lnTo>
                    <a:lnTo>
                      <a:pt x="29169" y="49378"/>
                    </a:lnTo>
                    <a:lnTo>
                      <a:pt x="29169" y="96652"/>
                    </a:lnTo>
                    <a:cubicBezTo>
                      <a:pt x="29169" y="98664"/>
                      <a:pt x="29352" y="100401"/>
                      <a:pt x="29718" y="101681"/>
                    </a:cubicBezTo>
                    <a:cubicBezTo>
                      <a:pt x="30084" y="103053"/>
                      <a:pt x="30632" y="104059"/>
                      <a:pt x="31364" y="104882"/>
                    </a:cubicBezTo>
                    <a:cubicBezTo>
                      <a:pt x="32095" y="105705"/>
                      <a:pt x="33010" y="106253"/>
                      <a:pt x="34107" y="106619"/>
                    </a:cubicBezTo>
                    <a:cubicBezTo>
                      <a:pt x="35204" y="106893"/>
                      <a:pt x="36576" y="107076"/>
                      <a:pt x="38131" y="107076"/>
                    </a:cubicBezTo>
                    <a:cubicBezTo>
                      <a:pt x="40325" y="107076"/>
                      <a:pt x="42611" y="106710"/>
                      <a:pt x="44897" y="105979"/>
                    </a:cubicBezTo>
                    <a:cubicBezTo>
                      <a:pt x="47183" y="105247"/>
                      <a:pt x="49103" y="104516"/>
                      <a:pt x="50658" y="103510"/>
                    </a:cubicBezTo>
                    <a:lnTo>
                      <a:pt x="48738"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7" name="Freeform: Shape 16">
                <a:extLst>
                  <a:ext uri="{FF2B5EF4-FFF2-40B4-BE49-F238E27FC236}">
                    <a16:creationId xmlns:a16="http://schemas.microsoft.com/office/drawing/2014/main" id="{D70B8B7B-1FF4-4E6D-B34A-96C43ED1674A}"/>
                  </a:ext>
                </a:extLst>
              </p:cNvPr>
              <p:cNvSpPr/>
              <p:nvPr/>
            </p:nvSpPr>
            <p:spPr>
              <a:xfrm>
                <a:off x="1229355" y="6065581"/>
                <a:ext cx="73152" cy="82296"/>
              </a:xfrm>
              <a:custGeom>
                <a:avLst/>
                <a:gdLst>
                  <a:gd name="connsiteX0" fmla="*/ 57516 w 73152"/>
                  <a:gd name="connsiteY0" fmla="*/ 37490 h 82296"/>
                  <a:gd name="connsiteX1" fmla="*/ 55961 w 73152"/>
                  <a:gd name="connsiteY1" fmla="*/ 29078 h 82296"/>
                  <a:gd name="connsiteX2" fmla="*/ 52212 w 73152"/>
                  <a:gd name="connsiteY2" fmla="*/ 22128 h 82296"/>
                  <a:gd name="connsiteX3" fmla="*/ 45994 w 73152"/>
                  <a:gd name="connsiteY3" fmla="*/ 17374 h 82296"/>
                  <a:gd name="connsiteX4" fmla="*/ 36942 w 73152"/>
                  <a:gd name="connsiteY4" fmla="*/ 15636 h 82296"/>
                  <a:gd name="connsiteX5" fmla="*/ 28986 w 73152"/>
                  <a:gd name="connsiteY5" fmla="*/ 17099 h 82296"/>
                  <a:gd name="connsiteX6" fmla="*/ 23134 w 73152"/>
                  <a:gd name="connsiteY6" fmla="*/ 21397 h 82296"/>
                  <a:gd name="connsiteX7" fmla="*/ 19111 w 73152"/>
                  <a:gd name="connsiteY7" fmla="*/ 28164 h 82296"/>
                  <a:gd name="connsiteX8" fmla="*/ 16916 w 73152"/>
                  <a:gd name="connsiteY8" fmla="*/ 37490 h 82296"/>
                  <a:gd name="connsiteX9" fmla="*/ 57516 w 73152"/>
                  <a:gd name="connsiteY9" fmla="*/ 37490 h 82296"/>
                  <a:gd name="connsiteX10" fmla="*/ 74706 w 73152"/>
                  <a:gd name="connsiteY10" fmla="*/ 43800 h 82296"/>
                  <a:gd name="connsiteX11" fmla="*/ 74524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8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06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516" y="37490"/>
                    </a:moveTo>
                    <a:cubicBezTo>
                      <a:pt x="57241" y="34564"/>
                      <a:pt x="56784" y="31730"/>
                      <a:pt x="55961" y="29078"/>
                    </a:cubicBezTo>
                    <a:cubicBezTo>
                      <a:pt x="55138" y="26426"/>
                      <a:pt x="53858" y="24140"/>
                      <a:pt x="52212" y="22128"/>
                    </a:cubicBezTo>
                    <a:cubicBezTo>
                      <a:pt x="50566" y="20117"/>
                      <a:pt x="48463" y="18562"/>
                      <a:pt x="45994" y="17374"/>
                    </a:cubicBezTo>
                    <a:cubicBezTo>
                      <a:pt x="43434" y="16185"/>
                      <a:pt x="40508" y="15636"/>
                      <a:pt x="36942" y="15636"/>
                    </a:cubicBezTo>
                    <a:cubicBezTo>
                      <a:pt x="33924" y="15636"/>
                      <a:pt x="31272" y="16093"/>
                      <a:pt x="28986" y="17099"/>
                    </a:cubicBezTo>
                    <a:cubicBezTo>
                      <a:pt x="26700" y="18105"/>
                      <a:pt x="24780" y="19477"/>
                      <a:pt x="23134" y="21397"/>
                    </a:cubicBezTo>
                    <a:cubicBezTo>
                      <a:pt x="21488" y="23226"/>
                      <a:pt x="20208" y="25512"/>
                      <a:pt x="19111" y="28164"/>
                    </a:cubicBezTo>
                    <a:cubicBezTo>
                      <a:pt x="18014" y="30815"/>
                      <a:pt x="17374" y="33924"/>
                      <a:pt x="16916" y="37490"/>
                    </a:cubicBezTo>
                    <a:lnTo>
                      <a:pt x="57516" y="37490"/>
                    </a:lnTo>
                    <a:close/>
                    <a:moveTo>
                      <a:pt x="74706" y="43800"/>
                    </a:moveTo>
                    <a:cubicBezTo>
                      <a:pt x="74706" y="45354"/>
                      <a:pt x="74615" y="46817"/>
                      <a:pt x="74524" y="48189"/>
                    </a:cubicBezTo>
                    <a:cubicBezTo>
                      <a:pt x="74432" y="49560"/>
                      <a:pt x="74341" y="50658"/>
                      <a:pt x="74249" y="51572"/>
                    </a:cubicBezTo>
                    <a:lnTo>
                      <a:pt x="16642" y="51572"/>
                    </a:lnTo>
                    <a:cubicBezTo>
                      <a:pt x="17099"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8" y="73518"/>
                    </a:cubicBezTo>
                    <a:cubicBezTo>
                      <a:pt x="50292" y="72878"/>
                      <a:pt x="51664" y="72238"/>
                      <a:pt x="52852" y="71506"/>
                    </a:cubicBezTo>
                    <a:cubicBezTo>
                      <a:pt x="54041" y="70866"/>
                      <a:pt x="55596" y="69769"/>
                      <a:pt x="57516" y="68489"/>
                    </a:cubicBezTo>
                    <a:lnTo>
                      <a:pt x="67666" y="79370"/>
                    </a:lnTo>
                    <a:cubicBezTo>
                      <a:pt x="65471" y="81382"/>
                      <a:pt x="63459" y="83119"/>
                      <a:pt x="61448" y="84308"/>
                    </a:cubicBezTo>
                    <a:cubicBezTo>
                      <a:pt x="59436"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377" y="63642"/>
                      <a:pt x="1463" y="59345"/>
                    </a:cubicBezTo>
                    <a:cubicBezTo>
                      <a:pt x="457" y="55138"/>
                      <a:pt x="0" y="50475"/>
                      <a:pt x="0" y="45446"/>
                    </a:cubicBezTo>
                    <a:cubicBezTo>
                      <a:pt x="0" y="38130"/>
                      <a:pt x="914" y="31547"/>
                      <a:pt x="2835" y="25878"/>
                    </a:cubicBezTo>
                    <a:cubicBezTo>
                      <a:pt x="4663" y="20208"/>
                      <a:pt x="7315" y="15453"/>
                      <a:pt x="10698" y="11613"/>
                    </a:cubicBezTo>
                    <a:cubicBezTo>
                      <a:pt x="14082" y="7772"/>
                      <a:pt x="18105"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3975" y="32278"/>
                      <a:pt x="74706" y="37856"/>
                      <a:pt x="74706"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0" name="Freeform: Shape 19">
                <a:extLst>
                  <a:ext uri="{FF2B5EF4-FFF2-40B4-BE49-F238E27FC236}">
                    <a16:creationId xmlns:a16="http://schemas.microsoft.com/office/drawing/2014/main" id="{D402D647-2E5E-40C9-9394-B72B3F4B6FDC}"/>
                  </a:ext>
                </a:extLst>
              </p:cNvPr>
              <p:cNvSpPr/>
              <p:nvPr/>
            </p:nvSpPr>
            <p:spPr>
              <a:xfrm>
                <a:off x="1322075" y="6065581"/>
                <a:ext cx="45720" cy="82296"/>
              </a:xfrm>
              <a:custGeom>
                <a:avLst/>
                <a:gdLst>
                  <a:gd name="connsiteX0" fmla="*/ 47183 w 45720"/>
                  <a:gd name="connsiteY0" fmla="*/ 20025 h 82296"/>
                  <a:gd name="connsiteX1" fmla="*/ 41422 w 45720"/>
                  <a:gd name="connsiteY1" fmla="*/ 17648 h 82296"/>
                  <a:gd name="connsiteX2" fmla="*/ 34199 w 45720"/>
                  <a:gd name="connsiteY2" fmla="*/ 16825 h 82296"/>
                  <a:gd name="connsiteX3" fmla="*/ 21580 w 45720"/>
                  <a:gd name="connsiteY3" fmla="*/ 22403 h 82296"/>
                  <a:gd name="connsiteX4" fmla="*/ 17099 w 45720"/>
                  <a:gd name="connsiteY4" fmla="*/ 39228 h 82296"/>
                  <a:gd name="connsiteX5" fmla="*/ 17099 w 45720"/>
                  <a:gd name="connsiteY5" fmla="*/ 88971 h 82296"/>
                  <a:gd name="connsiteX6" fmla="*/ 0 w 45720"/>
                  <a:gd name="connsiteY6" fmla="*/ 88971 h 82296"/>
                  <a:gd name="connsiteX7" fmla="*/ 0 w 45720"/>
                  <a:gd name="connsiteY7" fmla="*/ 1920 h 82296"/>
                  <a:gd name="connsiteX8" fmla="*/ 17099 w 45720"/>
                  <a:gd name="connsiteY8" fmla="*/ 1920 h 82296"/>
                  <a:gd name="connsiteX9" fmla="*/ 17099 w 45720"/>
                  <a:gd name="connsiteY9" fmla="*/ 10150 h 82296"/>
                  <a:gd name="connsiteX10" fmla="*/ 20665 w 45720"/>
                  <a:gd name="connsiteY10" fmla="*/ 6126 h 82296"/>
                  <a:gd name="connsiteX11" fmla="*/ 25329 w 45720"/>
                  <a:gd name="connsiteY11" fmla="*/ 2926 h 82296"/>
                  <a:gd name="connsiteX12" fmla="*/ 30815 w 45720"/>
                  <a:gd name="connsiteY12" fmla="*/ 732 h 82296"/>
                  <a:gd name="connsiteX13" fmla="*/ 36942 w 45720"/>
                  <a:gd name="connsiteY13" fmla="*/ 0 h 82296"/>
                  <a:gd name="connsiteX14" fmla="*/ 45720 w 45720"/>
                  <a:gd name="connsiteY14" fmla="*/ 1006 h 82296"/>
                  <a:gd name="connsiteX15" fmla="*/ 51755 w 45720"/>
                  <a:gd name="connsiteY15" fmla="*/ 3658 h 82296"/>
                  <a:gd name="connsiteX16" fmla="*/ 47183 w 45720"/>
                  <a:gd name="connsiteY16" fmla="*/ 20025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 h="82296">
                    <a:moveTo>
                      <a:pt x="47183" y="20025"/>
                    </a:moveTo>
                    <a:cubicBezTo>
                      <a:pt x="45354" y="19020"/>
                      <a:pt x="43434" y="18197"/>
                      <a:pt x="41422" y="17648"/>
                    </a:cubicBezTo>
                    <a:cubicBezTo>
                      <a:pt x="39411" y="17099"/>
                      <a:pt x="36942" y="16825"/>
                      <a:pt x="34199" y="16825"/>
                    </a:cubicBezTo>
                    <a:cubicBezTo>
                      <a:pt x="28712" y="16825"/>
                      <a:pt x="24506" y="18654"/>
                      <a:pt x="21580" y="22403"/>
                    </a:cubicBezTo>
                    <a:cubicBezTo>
                      <a:pt x="18562" y="26152"/>
                      <a:pt x="17099" y="31730"/>
                      <a:pt x="17099" y="39228"/>
                    </a:cubicBezTo>
                    <a:lnTo>
                      <a:pt x="17099" y="88971"/>
                    </a:lnTo>
                    <a:lnTo>
                      <a:pt x="0" y="88971"/>
                    </a:lnTo>
                    <a:lnTo>
                      <a:pt x="0" y="1920"/>
                    </a:lnTo>
                    <a:lnTo>
                      <a:pt x="17099" y="1920"/>
                    </a:lnTo>
                    <a:lnTo>
                      <a:pt x="17099" y="10150"/>
                    </a:lnTo>
                    <a:cubicBezTo>
                      <a:pt x="18105" y="8687"/>
                      <a:pt x="19294" y="7315"/>
                      <a:pt x="20665" y="6126"/>
                    </a:cubicBezTo>
                    <a:cubicBezTo>
                      <a:pt x="22037" y="4938"/>
                      <a:pt x="23592" y="3840"/>
                      <a:pt x="25329" y="2926"/>
                    </a:cubicBezTo>
                    <a:cubicBezTo>
                      <a:pt x="27066" y="2012"/>
                      <a:pt x="28895" y="1280"/>
                      <a:pt x="30815" y="732"/>
                    </a:cubicBezTo>
                    <a:cubicBezTo>
                      <a:pt x="32736" y="183"/>
                      <a:pt x="34839" y="0"/>
                      <a:pt x="36942" y="0"/>
                    </a:cubicBezTo>
                    <a:cubicBezTo>
                      <a:pt x="40416" y="0"/>
                      <a:pt x="43343" y="366"/>
                      <a:pt x="45720" y="1006"/>
                    </a:cubicBezTo>
                    <a:cubicBezTo>
                      <a:pt x="48006" y="1646"/>
                      <a:pt x="50109" y="2560"/>
                      <a:pt x="51755" y="3658"/>
                    </a:cubicBezTo>
                    <a:lnTo>
                      <a:pt x="47183" y="20025"/>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1" name="Freeform: Shape 20">
                <a:extLst>
                  <a:ext uri="{FF2B5EF4-FFF2-40B4-BE49-F238E27FC236}">
                    <a16:creationId xmlns:a16="http://schemas.microsoft.com/office/drawing/2014/main" id="{9E410F1E-559D-42D6-8055-0C05F6141988}"/>
                  </a:ext>
                </a:extLst>
              </p:cNvPr>
              <p:cNvSpPr/>
              <p:nvPr/>
            </p:nvSpPr>
            <p:spPr>
              <a:xfrm>
                <a:off x="1422476" y="6033760"/>
                <a:ext cx="45720" cy="118872"/>
              </a:xfrm>
              <a:custGeom>
                <a:avLst/>
                <a:gdLst>
                  <a:gd name="connsiteX0" fmla="*/ 48737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9 w 45720"/>
                  <a:gd name="connsiteY20" fmla="*/ 106619 h 118872"/>
                  <a:gd name="connsiteX21" fmla="*/ 38222 w 45720"/>
                  <a:gd name="connsiteY21" fmla="*/ 107076 h 118872"/>
                  <a:gd name="connsiteX22" fmla="*/ 44988 w 45720"/>
                  <a:gd name="connsiteY22" fmla="*/ 105979 h 118872"/>
                  <a:gd name="connsiteX23" fmla="*/ 50749 w 45720"/>
                  <a:gd name="connsiteY23" fmla="*/ 103510 h 118872"/>
                  <a:gd name="connsiteX24" fmla="*/ 48737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7" y="118689"/>
                    </a:moveTo>
                    <a:cubicBezTo>
                      <a:pt x="46634" y="119878"/>
                      <a:pt x="44165" y="120884"/>
                      <a:pt x="41331" y="121615"/>
                    </a:cubicBezTo>
                    <a:cubicBezTo>
                      <a:pt x="38496" y="122347"/>
                      <a:pt x="35387" y="122712"/>
                      <a:pt x="32004" y="122712"/>
                    </a:cubicBezTo>
                    <a:cubicBezTo>
                      <a:pt x="29078" y="122712"/>
                      <a:pt x="26426" y="122255"/>
                      <a:pt x="24232" y="121432"/>
                    </a:cubicBezTo>
                    <a:cubicBezTo>
                      <a:pt x="21946"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3053"/>
                      <a:pt x="30632" y="104059"/>
                      <a:pt x="31364" y="104882"/>
                    </a:cubicBezTo>
                    <a:cubicBezTo>
                      <a:pt x="32095" y="105705"/>
                      <a:pt x="33010" y="106253"/>
                      <a:pt x="34199" y="106619"/>
                    </a:cubicBezTo>
                    <a:cubicBezTo>
                      <a:pt x="35296" y="106893"/>
                      <a:pt x="36667" y="107076"/>
                      <a:pt x="38222" y="107076"/>
                    </a:cubicBezTo>
                    <a:cubicBezTo>
                      <a:pt x="40416" y="107076"/>
                      <a:pt x="42702" y="106710"/>
                      <a:pt x="44988" y="105979"/>
                    </a:cubicBezTo>
                    <a:cubicBezTo>
                      <a:pt x="47274" y="105247"/>
                      <a:pt x="49195" y="104516"/>
                      <a:pt x="50749" y="103510"/>
                    </a:cubicBezTo>
                    <a:lnTo>
                      <a:pt x="48737"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2" name="Freeform: Shape 21">
                <a:extLst>
                  <a:ext uri="{FF2B5EF4-FFF2-40B4-BE49-F238E27FC236}">
                    <a16:creationId xmlns:a16="http://schemas.microsoft.com/office/drawing/2014/main" id="{B2DDE943-90D5-430C-95E3-CD97B80D26E3}"/>
                  </a:ext>
                </a:extLst>
              </p:cNvPr>
              <p:cNvSpPr/>
              <p:nvPr/>
            </p:nvSpPr>
            <p:spPr>
              <a:xfrm>
                <a:off x="1492976" y="6033760"/>
                <a:ext cx="64008" cy="118872"/>
              </a:xfrm>
              <a:custGeom>
                <a:avLst/>
                <a:gdLst>
                  <a:gd name="connsiteX0" fmla="*/ 52944 w 64008"/>
                  <a:gd name="connsiteY0" fmla="*/ 120884 h 118872"/>
                  <a:gd name="connsiteX1" fmla="*/ 52944 w 64008"/>
                  <a:gd name="connsiteY1" fmla="*/ 71598 h 118872"/>
                  <a:gd name="connsiteX2" fmla="*/ 48646 w 64008"/>
                  <a:gd name="connsiteY2" fmla="*/ 53584 h 118872"/>
                  <a:gd name="connsiteX3" fmla="*/ 35021 w 64008"/>
                  <a:gd name="connsiteY3" fmla="*/ 47640 h 118872"/>
                  <a:gd name="connsiteX4" fmla="*/ 27706 w 64008"/>
                  <a:gd name="connsiteY4" fmla="*/ 48920 h 118872"/>
                  <a:gd name="connsiteX5" fmla="*/ 21946 w 64008"/>
                  <a:gd name="connsiteY5" fmla="*/ 53218 h 118872"/>
                  <a:gd name="connsiteX6" fmla="*/ 18288 w 64008"/>
                  <a:gd name="connsiteY6" fmla="*/ 60259 h 118872"/>
                  <a:gd name="connsiteX7" fmla="*/ 17099 w 64008"/>
                  <a:gd name="connsiteY7" fmla="*/ 69860 h 118872"/>
                  <a:gd name="connsiteX8" fmla="*/ 17099 w 64008"/>
                  <a:gd name="connsiteY8" fmla="*/ 120792 h 118872"/>
                  <a:gd name="connsiteX9" fmla="*/ 0 w 64008"/>
                  <a:gd name="connsiteY9" fmla="*/ 120792 h 118872"/>
                  <a:gd name="connsiteX10" fmla="*/ 0 w 64008"/>
                  <a:gd name="connsiteY10" fmla="*/ 8961 h 118872"/>
                  <a:gd name="connsiteX11" fmla="*/ 17099 w 64008"/>
                  <a:gd name="connsiteY11" fmla="*/ 0 h 118872"/>
                  <a:gd name="connsiteX12" fmla="*/ 17099 w 64008"/>
                  <a:gd name="connsiteY12" fmla="*/ 42154 h 118872"/>
                  <a:gd name="connsiteX13" fmla="*/ 21031 w 64008"/>
                  <a:gd name="connsiteY13" fmla="*/ 37948 h 118872"/>
                  <a:gd name="connsiteX14" fmla="*/ 26243 w 64008"/>
                  <a:gd name="connsiteY14" fmla="*/ 34747 h 118872"/>
                  <a:gd name="connsiteX15" fmla="*/ 32278 w 64008"/>
                  <a:gd name="connsiteY15" fmla="*/ 32736 h 118872"/>
                  <a:gd name="connsiteX16" fmla="*/ 38953 w 64008"/>
                  <a:gd name="connsiteY16" fmla="*/ 32004 h 118872"/>
                  <a:gd name="connsiteX17" fmla="*/ 52578 w 64008"/>
                  <a:gd name="connsiteY17" fmla="*/ 34473 h 118872"/>
                  <a:gd name="connsiteX18" fmla="*/ 62271 w 64008"/>
                  <a:gd name="connsiteY18" fmla="*/ 41880 h 118872"/>
                  <a:gd name="connsiteX19" fmla="*/ 68123 w 64008"/>
                  <a:gd name="connsiteY19" fmla="*/ 54315 h 118872"/>
                  <a:gd name="connsiteX20" fmla="*/ 70043 w 64008"/>
                  <a:gd name="connsiteY20" fmla="*/ 70957 h 118872"/>
                  <a:gd name="connsiteX21" fmla="*/ 70043 w 64008"/>
                  <a:gd name="connsiteY21" fmla="*/ 120884 h 118872"/>
                  <a:gd name="connsiteX22" fmla="*/ 52944 w 64008"/>
                  <a:gd name="connsiteY22" fmla="*/ 120884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118872">
                    <a:moveTo>
                      <a:pt x="52944" y="120884"/>
                    </a:moveTo>
                    <a:lnTo>
                      <a:pt x="52944" y="71598"/>
                    </a:lnTo>
                    <a:cubicBezTo>
                      <a:pt x="52944" y="63551"/>
                      <a:pt x="51481" y="57516"/>
                      <a:pt x="48646" y="53584"/>
                    </a:cubicBezTo>
                    <a:cubicBezTo>
                      <a:pt x="45811" y="49652"/>
                      <a:pt x="41239" y="47640"/>
                      <a:pt x="35021" y="47640"/>
                    </a:cubicBezTo>
                    <a:cubicBezTo>
                      <a:pt x="32370" y="47640"/>
                      <a:pt x="29901" y="48097"/>
                      <a:pt x="27706" y="48920"/>
                    </a:cubicBezTo>
                    <a:cubicBezTo>
                      <a:pt x="25420" y="49743"/>
                      <a:pt x="23500" y="51206"/>
                      <a:pt x="21946" y="53218"/>
                    </a:cubicBezTo>
                    <a:cubicBezTo>
                      <a:pt x="20300" y="55230"/>
                      <a:pt x="19111" y="57607"/>
                      <a:pt x="18288" y="60259"/>
                    </a:cubicBezTo>
                    <a:cubicBezTo>
                      <a:pt x="17465" y="63002"/>
                      <a:pt x="17099" y="66111"/>
                      <a:pt x="17099" y="69860"/>
                    </a:cubicBezTo>
                    <a:lnTo>
                      <a:pt x="17099" y="120792"/>
                    </a:lnTo>
                    <a:lnTo>
                      <a:pt x="0" y="120792"/>
                    </a:lnTo>
                    <a:lnTo>
                      <a:pt x="0" y="8961"/>
                    </a:lnTo>
                    <a:lnTo>
                      <a:pt x="17099" y="0"/>
                    </a:lnTo>
                    <a:lnTo>
                      <a:pt x="17099" y="42154"/>
                    </a:lnTo>
                    <a:cubicBezTo>
                      <a:pt x="18197" y="40599"/>
                      <a:pt x="19477" y="39136"/>
                      <a:pt x="21031" y="37948"/>
                    </a:cubicBezTo>
                    <a:cubicBezTo>
                      <a:pt x="22586" y="36667"/>
                      <a:pt x="24323" y="35570"/>
                      <a:pt x="26243" y="34747"/>
                    </a:cubicBezTo>
                    <a:cubicBezTo>
                      <a:pt x="28163" y="33924"/>
                      <a:pt x="30175" y="33193"/>
                      <a:pt x="32278" y="32736"/>
                    </a:cubicBezTo>
                    <a:cubicBezTo>
                      <a:pt x="34473" y="32278"/>
                      <a:pt x="36667" y="32004"/>
                      <a:pt x="38953" y="32004"/>
                    </a:cubicBezTo>
                    <a:cubicBezTo>
                      <a:pt x="44165" y="32004"/>
                      <a:pt x="48737" y="32827"/>
                      <a:pt x="52578" y="34473"/>
                    </a:cubicBezTo>
                    <a:cubicBezTo>
                      <a:pt x="56418" y="36119"/>
                      <a:pt x="59619" y="38588"/>
                      <a:pt x="62271" y="41880"/>
                    </a:cubicBezTo>
                    <a:cubicBezTo>
                      <a:pt x="64922" y="45171"/>
                      <a:pt x="66843" y="49286"/>
                      <a:pt x="68123" y="54315"/>
                    </a:cubicBezTo>
                    <a:cubicBezTo>
                      <a:pt x="69403" y="59345"/>
                      <a:pt x="70043" y="64922"/>
                      <a:pt x="70043" y="70957"/>
                    </a:cubicBezTo>
                    <a:lnTo>
                      <a:pt x="70043" y="120884"/>
                    </a:lnTo>
                    <a:lnTo>
                      <a:pt x="52944" y="12088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3" name="Freeform: Shape 22">
                <a:extLst>
                  <a:ext uri="{FF2B5EF4-FFF2-40B4-BE49-F238E27FC236}">
                    <a16:creationId xmlns:a16="http://schemas.microsoft.com/office/drawing/2014/main" id="{E83A4BCD-7349-4CE6-80A0-BD9631525950}"/>
                  </a:ext>
                </a:extLst>
              </p:cNvPr>
              <p:cNvSpPr/>
              <p:nvPr/>
            </p:nvSpPr>
            <p:spPr>
              <a:xfrm>
                <a:off x="1580210" y="6065581"/>
                <a:ext cx="73152" cy="82296"/>
              </a:xfrm>
              <a:custGeom>
                <a:avLst/>
                <a:gdLst>
                  <a:gd name="connsiteX0" fmla="*/ 57424 w 73152"/>
                  <a:gd name="connsiteY0" fmla="*/ 37490 h 82296"/>
                  <a:gd name="connsiteX1" fmla="*/ 55870 w 73152"/>
                  <a:gd name="connsiteY1" fmla="*/ 29078 h 82296"/>
                  <a:gd name="connsiteX2" fmla="*/ 52121 w 73152"/>
                  <a:gd name="connsiteY2" fmla="*/ 22128 h 82296"/>
                  <a:gd name="connsiteX3" fmla="*/ 45903 w 73152"/>
                  <a:gd name="connsiteY3" fmla="*/ 17374 h 82296"/>
                  <a:gd name="connsiteX4" fmla="*/ 36850 w 73152"/>
                  <a:gd name="connsiteY4" fmla="*/ 15636 h 82296"/>
                  <a:gd name="connsiteX5" fmla="*/ 28895 w 73152"/>
                  <a:gd name="connsiteY5" fmla="*/ 17099 h 82296"/>
                  <a:gd name="connsiteX6" fmla="*/ 23043 w 73152"/>
                  <a:gd name="connsiteY6" fmla="*/ 21397 h 82296"/>
                  <a:gd name="connsiteX7" fmla="*/ 19019 w 73152"/>
                  <a:gd name="connsiteY7" fmla="*/ 28164 h 82296"/>
                  <a:gd name="connsiteX8" fmla="*/ 16825 w 73152"/>
                  <a:gd name="connsiteY8" fmla="*/ 37490 h 82296"/>
                  <a:gd name="connsiteX9" fmla="*/ 57424 w 73152"/>
                  <a:gd name="connsiteY9" fmla="*/ 37490 h 82296"/>
                  <a:gd name="connsiteX10" fmla="*/ 74706 w 73152"/>
                  <a:gd name="connsiteY10" fmla="*/ 43800 h 82296"/>
                  <a:gd name="connsiteX11" fmla="*/ 74524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7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06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424" y="37490"/>
                    </a:moveTo>
                    <a:cubicBezTo>
                      <a:pt x="57150" y="34564"/>
                      <a:pt x="56693" y="31730"/>
                      <a:pt x="55870" y="29078"/>
                    </a:cubicBezTo>
                    <a:cubicBezTo>
                      <a:pt x="55047" y="26426"/>
                      <a:pt x="53767" y="24140"/>
                      <a:pt x="52121" y="22128"/>
                    </a:cubicBezTo>
                    <a:cubicBezTo>
                      <a:pt x="50475" y="20117"/>
                      <a:pt x="48372" y="18562"/>
                      <a:pt x="45903" y="17374"/>
                    </a:cubicBezTo>
                    <a:cubicBezTo>
                      <a:pt x="43343" y="16185"/>
                      <a:pt x="40416" y="15636"/>
                      <a:pt x="36850" y="15636"/>
                    </a:cubicBezTo>
                    <a:cubicBezTo>
                      <a:pt x="33833" y="15636"/>
                      <a:pt x="31181" y="16093"/>
                      <a:pt x="28895" y="17099"/>
                    </a:cubicBezTo>
                    <a:cubicBezTo>
                      <a:pt x="26609" y="18105"/>
                      <a:pt x="24689" y="19477"/>
                      <a:pt x="23043" y="21397"/>
                    </a:cubicBezTo>
                    <a:cubicBezTo>
                      <a:pt x="21397" y="23226"/>
                      <a:pt x="20117" y="25512"/>
                      <a:pt x="19019" y="28164"/>
                    </a:cubicBezTo>
                    <a:cubicBezTo>
                      <a:pt x="17922" y="30815"/>
                      <a:pt x="17282" y="33924"/>
                      <a:pt x="16825" y="37490"/>
                    </a:cubicBezTo>
                    <a:lnTo>
                      <a:pt x="57424" y="37490"/>
                    </a:lnTo>
                    <a:close/>
                    <a:moveTo>
                      <a:pt x="74706" y="43800"/>
                    </a:moveTo>
                    <a:cubicBezTo>
                      <a:pt x="74706" y="45354"/>
                      <a:pt x="74615" y="46817"/>
                      <a:pt x="74524" y="48189"/>
                    </a:cubicBezTo>
                    <a:cubicBezTo>
                      <a:pt x="74432" y="49560"/>
                      <a:pt x="74341" y="50658"/>
                      <a:pt x="74249" y="51572"/>
                    </a:cubicBezTo>
                    <a:lnTo>
                      <a:pt x="16642" y="51572"/>
                    </a:lnTo>
                    <a:cubicBezTo>
                      <a:pt x="17191"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7" y="73518"/>
                    </a:cubicBezTo>
                    <a:cubicBezTo>
                      <a:pt x="50292" y="72878"/>
                      <a:pt x="51664" y="72238"/>
                      <a:pt x="52852" y="71506"/>
                    </a:cubicBezTo>
                    <a:cubicBezTo>
                      <a:pt x="54041" y="70866"/>
                      <a:pt x="55595" y="69769"/>
                      <a:pt x="57516" y="68489"/>
                    </a:cubicBezTo>
                    <a:lnTo>
                      <a:pt x="67666" y="79370"/>
                    </a:lnTo>
                    <a:cubicBezTo>
                      <a:pt x="65471" y="81382"/>
                      <a:pt x="63459" y="83119"/>
                      <a:pt x="61448" y="84308"/>
                    </a:cubicBezTo>
                    <a:cubicBezTo>
                      <a:pt x="59436"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377" y="63642"/>
                      <a:pt x="1463" y="59345"/>
                    </a:cubicBezTo>
                    <a:cubicBezTo>
                      <a:pt x="457" y="55138"/>
                      <a:pt x="0" y="50475"/>
                      <a:pt x="0" y="45446"/>
                    </a:cubicBezTo>
                    <a:cubicBezTo>
                      <a:pt x="0" y="38130"/>
                      <a:pt x="914" y="31547"/>
                      <a:pt x="2835" y="25878"/>
                    </a:cubicBezTo>
                    <a:cubicBezTo>
                      <a:pt x="4663" y="20208"/>
                      <a:pt x="7315" y="15453"/>
                      <a:pt x="10698" y="11613"/>
                    </a:cubicBezTo>
                    <a:cubicBezTo>
                      <a:pt x="14082" y="7772"/>
                      <a:pt x="18105"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3975" y="32278"/>
                      <a:pt x="74706" y="37856"/>
                      <a:pt x="74706"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Freeform: Shape 23">
                <a:extLst>
                  <a:ext uri="{FF2B5EF4-FFF2-40B4-BE49-F238E27FC236}">
                    <a16:creationId xmlns:a16="http://schemas.microsoft.com/office/drawing/2014/main" id="{75E93827-F276-4A07-A633-A6A2AE4335FC}"/>
                  </a:ext>
                </a:extLst>
              </p:cNvPr>
              <p:cNvSpPr/>
              <p:nvPr/>
            </p:nvSpPr>
            <p:spPr>
              <a:xfrm>
                <a:off x="1710604" y="6065672"/>
                <a:ext cx="73152" cy="118872"/>
              </a:xfrm>
              <a:custGeom>
                <a:avLst/>
                <a:gdLst>
                  <a:gd name="connsiteX0" fmla="*/ 56327 w 73152"/>
                  <a:gd name="connsiteY0" fmla="*/ 27249 h 118872"/>
                  <a:gd name="connsiteX1" fmla="*/ 52761 w 73152"/>
                  <a:gd name="connsiteY1" fmla="*/ 23317 h 118872"/>
                  <a:gd name="connsiteX2" fmla="*/ 47915 w 73152"/>
                  <a:gd name="connsiteY2" fmla="*/ 19660 h 118872"/>
                  <a:gd name="connsiteX3" fmla="*/ 42154 w 73152"/>
                  <a:gd name="connsiteY3" fmla="*/ 16916 h 118872"/>
                  <a:gd name="connsiteX4" fmla="*/ 35845 w 73152"/>
                  <a:gd name="connsiteY4" fmla="*/ 15911 h 118872"/>
                  <a:gd name="connsiteX5" fmla="*/ 21671 w 73152"/>
                  <a:gd name="connsiteY5" fmla="*/ 22860 h 118872"/>
                  <a:gd name="connsiteX6" fmla="*/ 16825 w 73152"/>
                  <a:gd name="connsiteY6" fmla="*/ 43617 h 118872"/>
                  <a:gd name="connsiteX7" fmla="*/ 21671 w 73152"/>
                  <a:gd name="connsiteY7" fmla="*/ 67117 h 118872"/>
                  <a:gd name="connsiteX8" fmla="*/ 36393 w 73152"/>
                  <a:gd name="connsiteY8" fmla="*/ 75164 h 118872"/>
                  <a:gd name="connsiteX9" fmla="*/ 47275 w 73152"/>
                  <a:gd name="connsiteY9" fmla="*/ 71963 h 118872"/>
                  <a:gd name="connsiteX10" fmla="*/ 56144 w 73152"/>
                  <a:gd name="connsiteY10" fmla="*/ 64008 h 118872"/>
                  <a:gd name="connsiteX11" fmla="*/ 56144 w 73152"/>
                  <a:gd name="connsiteY11" fmla="*/ 27249 h 118872"/>
                  <a:gd name="connsiteX12" fmla="*/ 56144 w 73152"/>
                  <a:gd name="connsiteY12" fmla="*/ 120975 h 118872"/>
                  <a:gd name="connsiteX13" fmla="*/ 56144 w 73152"/>
                  <a:gd name="connsiteY13" fmla="*/ 80742 h 118872"/>
                  <a:gd name="connsiteX14" fmla="*/ 45811 w 73152"/>
                  <a:gd name="connsiteY14" fmla="*/ 87965 h 118872"/>
                  <a:gd name="connsiteX15" fmla="*/ 33376 w 73152"/>
                  <a:gd name="connsiteY15" fmla="*/ 90800 h 118872"/>
                  <a:gd name="connsiteX16" fmla="*/ 20300 w 73152"/>
                  <a:gd name="connsiteY16" fmla="*/ 88148 h 118872"/>
                  <a:gd name="connsiteX17" fmla="*/ 9693 w 73152"/>
                  <a:gd name="connsiteY17" fmla="*/ 79827 h 118872"/>
                  <a:gd name="connsiteX18" fmla="*/ 2560 w 73152"/>
                  <a:gd name="connsiteY18" fmla="*/ 65288 h 118872"/>
                  <a:gd name="connsiteX19" fmla="*/ 0 w 73152"/>
                  <a:gd name="connsiteY19" fmla="*/ 43983 h 118872"/>
                  <a:gd name="connsiteX20" fmla="*/ 2835 w 73152"/>
                  <a:gd name="connsiteY20" fmla="*/ 24506 h 118872"/>
                  <a:gd name="connsiteX21" fmla="*/ 10333 w 73152"/>
                  <a:gd name="connsiteY21" fmla="*/ 10790 h 118872"/>
                  <a:gd name="connsiteX22" fmla="*/ 21306 w 73152"/>
                  <a:gd name="connsiteY22" fmla="*/ 2652 h 118872"/>
                  <a:gd name="connsiteX23" fmla="*/ 34290 w 73152"/>
                  <a:gd name="connsiteY23" fmla="*/ 0 h 118872"/>
                  <a:gd name="connsiteX24" fmla="*/ 40782 w 73152"/>
                  <a:gd name="connsiteY24" fmla="*/ 823 h 118872"/>
                  <a:gd name="connsiteX25" fmla="*/ 46726 w 73152"/>
                  <a:gd name="connsiteY25" fmla="*/ 3018 h 118872"/>
                  <a:gd name="connsiteX26" fmla="*/ 51938 w 73152"/>
                  <a:gd name="connsiteY26" fmla="*/ 6218 h 118872"/>
                  <a:gd name="connsiteX27" fmla="*/ 56236 w 73152"/>
                  <a:gd name="connsiteY27" fmla="*/ 9967 h 118872"/>
                  <a:gd name="connsiteX28" fmla="*/ 56236 w 73152"/>
                  <a:gd name="connsiteY28" fmla="*/ 1829 h 118872"/>
                  <a:gd name="connsiteX29" fmla="*/ 73152 w 73152"/>
                  <a:gd name="connsiteY29" fmla="*/ 1829 h 118872"/>
                  <a:gd name="connsiteX30" fmla="*/ 73152 w 73152"/>
                  <a:gd name="connsiteY30" fmla="*/ 112105 h 118872"/>
                  <a:gd name="connsiteX31" fmla="*/ 56144 w 73152"/>
                  <a:gd name="connsiteY31" fmla="*/ 120975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3152" h="118872">
                    <a:moveTo>
                      <a:pt x="56327" y="27249"/>
                    </a:moveTo>
                    <a:cubicBezTo>
                      <a:pt x="55321" y="25969"/>
                      <a:pt x="54133" y="24597"/>
                      <a:pt x="52761" y="23317"/>
                    </a:cubicBezTo>
                    <a:cubicBezTo>
                      <a:pt x="51298" y="21946"/>
                      <a:pt x="49743" y="20757"/>
                      <a:pt x="47915" y="19660"/>
                    </a:cubicBezTo>
                    <a:cubicBezTo>
                      <a:pt x="46177" y="18562"/>
                      <a:pt x="44257" y="17648"/>
                      <a:pt x="42154" y="16916"/>
                    </a:cubicBezTo>
                    <a:cubicBezTo>
                      <a:pt x="40142" y="16185"/>
                      <a:pt x="38039" y="15911"/>
                      <a:pt x="35845" y="15911"/>
                    </a:cubicBezTo>
                    <a:cubicBezTo>
                      <a:pt x="29627" y="15911"/>
                      <a:pt x="24963" y="18197"/>
                      <a:pt x="21671" y="22860"/>
                    </a:cubicBezTo>
                    <a:cubicBezTo>
                      <a:pt x="18471" y="27523"/>
                      <a:pt x="16825" y="34381"/>
                      <a:pt x="16825" y="43617"/>
                    </a:cubicBezTo>
                    <a:cubicBezTo>
                      <a:pt x="16825" y="53950"/>
                      <a:pt x="18471" y="61722"/>
                      <a:pt x="21671" y="67117"/>
                    </a:cubicBezTo>
                    <a:cubicBezTo>
                      <a:pt x="24872" y="72420"/>
                      <a:pt x="29809" y="75164"/>
                      <a:pt x="36393" y="75164"/>
                    </a:cubicBezTo>
                    <a:cubicBezTo>
                      <a:pt x="40325" y="75164"/>
                      <a:pt x="43891" y="74158"/>
                      <a:pt x="47275" y="71963"/>
                    </a:cubicBezTo>
                    <a:cubicBezTo>
                      <a:pt x="50658" y="69860"/>
                      <a:pt x="53584" y="67208"/>
                      <a:pt x="56144" y="64008"/>
                    </a:cubicBezTo>
                    <a:lnTo>
                      <a:pt x="56144" y="27249"/>
                    </a:lnTo>
                    <a:close/>
                    <a:moveTo>
                      <a:pt x="56144" y="120975"/>
                    </a:moveTo>
                    <a:lnTo>
                      <a:pt x="56144" y="80742"/>
                    </a:lnTo>
                    <a:cubicBezTo>
                      <a:pt x="52944" y="83668"/>
                      <a:pt x="49561" y="86045"/>
                      <a:pt x="45811" y="87965"/>
                    </a:cubicBezTo>
                    <a:cubicBezTo>
                      <a:pt x="42154" y="89886"/>
                      <a:pt x="37948" y="90800"/>
                      <a:pt x="33376" y="90800"/>
                    </a:cubicBezTo>
                    <a:cubicBezTo>
                      <a:pt x="28712" y="90800"/>
                      <a:pt x="24323" y="89886"/>
                      <a:pt x="20300" y="88148"/>
                    </a:cubicBezTo>
                    <a:cubicBezTo>
                      <a:pt x="16276" y="86411"/>
                      <a:pt x="12710" y="83668"/>
                      <a:pt x="9693" y="79827"/>
                    </a:cubicBezTo>
                    <a:cubicBezTo>
                      <a:pt x="6675" y="76078"/>
                      <a:pt x="4298" y="71232"/>
                      <a:pt x="2560" y="65288"/>
                    </a:cubicBezTo>
                    <a:cubicBezTo>
                      <a:pt x="823" y="59345"/>
                      <a:pt x="0" y="52304"/>
                      <a:pt x="0" y="43983"/>
                    </a:cubicBezTo>
                    <a:cubicBezTo>
                      <a:pt x="0" y="36485"/>
                      <a:pt x="914" y="30084"/>
                      <a:pt x="2835" y="24506"/>
                    </a:cubicBezTo>
                    <a:cubicBezTo>
                      <a:pt x="4755" y="19020"/>
                      <a:pt x="7224" y="14448"/>
                      <a:pt x="10333" y="10790"/>
                    </a:cubicBezTo>
                    <a:cubicBezTo>
                      <a:pt x="13533" y="7132"/>
                      <a:pt x="17099" y="4481"/>
                      <a:pt x="21306" y="2652"/>
                    </a:cubicBezTo>
                    <a:cubicBezTo>
                      <a:pt x="25420" y="914"/>
                      <a:pt x="29809" y="0"/>
                      <a:pt x="34290" y="0"/>
                    </a:cubicBezTo>
                    <a:cubicBezTo>
                      <a:pt x="36485" y="0"/>
                      <a:pt x="38679" y="274"/>
                      <a:pt x="40782" y="823"/>
                    </a:cubicBezTo>
                    <a:cubicBezTo>
                      <a:pt x="42885" y="1372"/>
                      <a:pt x="44897" y="2103"/>
                      <a:pt x="46726" y="3018"/>
                    </a:cubicBezTo>
                    <a:cubicBezTo>
                      <a:pt x="48646" y="3932"/>
                      <a:pt x="50383" y="5029"/>
                      <a:pt x="51938" y="6218"/>
                    </a:cubicBezTo>
                    <a:cubicBezTo>
                      <a:pt x="53584" y="7407"/>
                      <a:pt x="54955" y="8687"/>
                      <a:pt x="56236" y="9967"/>
                    </a:cubicBezTo>
                    <a:lnTo>
                      <a:pt x="56236" y="1829"/>
                    </a:lnTo>
                    <a:lnTo>
                      <a:pt x="73152" y="1829"/>
                    </a:lnTo>
                    <a:lnTo>
                      <a:pt x="73152" y="112105"/>
                    </a:lnTo>
                    <a:lnTo>
                      <a:pt x="56144" y="120975"/>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Freeform: Shape 24">
                <a:extLst>
                  <a:ext uri="{FF2B5EF4-FFF2-40B4-BE49-F238E27FC236}">
                    <a16:creationId xmlns:a16="http://schemas.microsoft.com/office/drawing/2014/main" id="{52D5A833-DC13-4F8F-A0B8-F3D777C3EB79}"/>
                  </a:ext>
                </a:extLst>
              </p:cNvPr>
              <p:cNvSpPr/>
              <p:nvPr/>
            </p:nvSpPr>
            <p:spPr>
              <a:xfrm>
                <a:off x="1804878" y="6067593"/>
                <a:ext cx="64008" cy="82296"/>
              </a:xfrm>
              <a:custGeom>
                <a:avLst/>
                <a:gdLst>
                  <a:gd name="connsiteX0" fmla="*/ 52944 w 64008"/>
                  <a:gd name="connsiteY0" fmla="*/ 87051 h 82296"/>
                  <a:gd name="connsiteX1" fmla="*/ 52944 w 64008"/>
                  <a:gd name="connsiteY1" fmla="*/ 78821 h 82296"/>
                  <a:gd name="connsiteX2" fmla="*/ 43891 w 64008"/>
                  <a:gd name="connsiteY2" fmla="*/ 86136 h 82296"/>
                  <a:gd name="connsiteX3" fmla="*/ 30998 w 64008"/>
                  <a:gd name="connsiteY3" fmla="*/ 88971 h 82296"/>
                  <a:gd name="connsiteX4" fmla="*/ 7864 w 64008"/>
                  <a:gd name="connsiteY4" fmla="*/ 79187 h 82296"/>
                  <a:gd name="connsiteX5" fmla="*/ 0 w 64008"/>
                  <a:gd name="connsiteY5" fmla="*/ 49926 h 82296"/>
                  <a:gd name="connsiteX6" fmla="*/ 0 w 64008"/>
                  <a:gd name="connsiteY6" fmla="*/ 0 h 82296"/>
                  <a:gd name="connsiteX7" fmla="*/ 17099 w 64008"/>
                  <a:gd name="connsiteY7" fmla="*/ 0 h 82296"/>
                  <a:gd name="connsiteX8" fmla="*/ 17099 w 64008"/>
                  <a:gd name="connsiteY8" fmla="*/ 49286 h 82296"/>
                  <a:gd name="connsiteX9" fmla="*/ 21306 w 64008"/>
                  <a:gd name="connsiteY9" fmla="*/ 67208 h 82296"/>
                  <a:gd name="connsiteX10" fmla="*/ 35022 w 64008"/>
                  <a:gd name="connsiteY10" fmla="*/ 73152 h 82296"/>
                  <a:gd name="connsiteX11" fmla="*/ 48280 w 64008"/>
                  <a:gd name="connsiteY11" fmla="*/ 67391 h 82296"/>
                  <a:gd name="connsiteX12" fmla="*/ 52944 w 64008"/>
                  <a:gd name="connsiteY12" fmla="*/ 51024 h 82296"/>
                  <a:gd name="connsiteX13" fmla="*/ 52944 w 64008"/>
                  <a:gd name="connsiteY13" fmla="*/ 91 h 82296"/>
                  <a:gd name="connsiteX14" fmla="*/ 70043 w 64008"/>
                  <a:gd name="connsiteY14" fmla="*/ 91 h 82296"/>
                  <a:gd name="connsiteX15" fmla="*/ 70043 w 64008"/>
                  <a:gd name="connsiteY15" fmla="*/ 87142 h 82296"/>
                  <a:gd name="connsiteX16" fmla="*/ 52944 w 64008"/>
                  <a:gd name="connsiteY16" fmla="*/ 87142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008" h="82296">
                    <a:moveTo>
                      <a:pt x="52944" y="87051"/>
                    </a:moveTo>
                    <a:lnTo>
                      <a:pt x="52944" y="78821"/>
                    </a:lnTo>
                    <a:cubicBezTo>
                      <a:pt x="50749" y="81839"/>
                      <a:pt x="47732" y="84216"/>
                      <a:pt x="43891" y="86136"/>
                    </a:cubicBezTo>
                    <a:cubicBezTo>
                      <a:pt x="39959" y="88057"/>
                      <a:pt x="35753" y="88971"/>
                      <a:pt x="30998" y="88971"/>
                    </a:cubicBezTo>
                    <a:cubicBezTo>
                      <a:pt x="20848" y="88971"/>
                      <a:pt x="13167" y="85679"/>
                      <a:pt x="7864" y="79187"/>
                    </a:cubicBezTo>
                    <a:cubicBezTo>
                      <a:pt x="2560" y="72695"/>
                      <a:pt x="0" y="62911"/>
                      <a:pt x="0" y="49926"/>
                    </a:cubicBezTo>
                    <a:lnTo>
                      <a:pt x="0" y="0"/>
                    </a:lnTo>
                    <a:lnTo>
                      <a:pt x="17099" y="0"/>
                    </a:lnTo>
                    <a:lnTo>
                      <a:pt x="17099" y="49286"/>
                    </a:lnTo>
                    <a:cubicBezTo>
                      <a:pt x="17099" y="57241"/>
                      <a:pt x="18562" y="63276"/>
                      <a:pt x="21306" y="67208"/>
                    </a:cubicBezTo>
                    <a:cubicBezTo>
                      <a:pt x="24140" y="71140"/>
                      <a:pt x="28712" y="73152"/>
                      <a:pt x="35022" y="73152"/>
                    </a:cubicBezTo>
                    <a:cubicBezTo>
                      <a:pt x="40782" y="73152"/>
                      <a:pt x="45171" y="71232"/>
                      <a:pt x="48280" y="67391"/>
                    </a:cubicBezTo>
                    <a:cubicBezTo>
                      <a:pt x="51389" y="63551"/>
                      <a:pt x="52944" y="58064"/>
                      <a:pt x="52944" y="51024"/>
                    </a:cubicBezTo>
                    <a:lnTo>
                      <a:pt x="52944" y="91"/>
                    </a:lnTo>
                    <a:lnTo>
                      <a:pt x="70043" y="91"/>
                    </a:lnTo>
                    <a:lnTo>
                      <a:pt x="70043" y="87142"/>
                    </a:lnTo>
                    <a:lnTo>
                      <a:pt x="52944" y="87142"/>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6" name="Freeform: Shape 25">
                <a:extLst>
                  <a:ext uri="{FF2B5EF4-FFF2-40B4-BE49-F238E27FC236}">
                    <a16:creationId xmlns:a16="http://schemas.microsoft.com/office/drawing/2014/main" id="{0CB35B6E-6A23-43B8-BF69-A19EA21664F2}"/>
                  </a:ext>
                </a:extLst>
              </p:cNvPr>
              <p:cNvSpPr/>
              <p:nvPr/>
            </p:nvSpPr>
            <p:spPr>
              <a:xfrm>
                <a:off x="1892569" y="6065581"/>
                <a:ext cx="73152" cy="82296"/>
              </a:xfrm>
              <a:custGeom>
                <a:avLst/>
                <a:gdLst>
                  <a:gd name="connsiteX0" fmla="*/ 57607 w 73152"/>
                  <a:gd name="connsiteY0" fmla="*/ 37490 h 82296"/>
                  <a:gd name="connsiteX1" fmla="*/ 56053 w 73152"/>
                  <a:gd name="connsiteY1" fmla="*/ 29078 h 82296"/>
                  <a:gd name="connsiteX2" fmla="*/ 52304 w 73152"/>
                  <a:gd name="connsiteY2" fmla="*/ 22128 h 82296"/>
                  <a:gd name="connsiteX3" fmla="*/ 46086 w 73152"/>
                  <a:gd name="connsiteY3" fmla="*/ 17374 h 82296"/>
                  <a:gd name="connsiteX4" fmla="*/ 37033 w 73152"/>
                  <a:gd name="connsiteY4" fmla="*/ 15636 h 82296"/>
                  <a:gd name="connsiteX5" fmla="*/ 29078 w 73152"/>
                  <a:gd name="connsiteY5" fmla="*/ 17099 h 82296"/>
                  <a:gd name="connsiteX6" fmla="*/ 23226 w 73152"/>
                  <a:gd name="connsiteY6" fmla="*/ 21397 h 82296"/>
                  <a:gd name="connsiteX7" fmla="*/ 19202 w 73152"/>
                  <a:gd name="connsiteY7" fmla="*/ 28164 h 82296"/>
                  <a:gd name="connsiteX8" fmla="*/ 17008 w 73152"/>
                  <a:gd name="connsiteY8" fmla="*/ 37490 h 82296"/>
                  <a:gd name="connsiteX9" fmla="*/ 57607 w 73152"/>
                  <a:gd name="connsiteY9" fmla="*/ 37490 h 82296"/>
                  <a:gd name="connsiteX10" fmla="*/ 74798 w 73152"/>
                  <a:gd name="connsiteY10" fmla="*/ 43800 h 82296"/>
                  <a:gd name="connsiteX11" fmla="*/ 74615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7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8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98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490"/>
                    </a:moveTo>
                    <a:cubicBezTo>
                      <a:pt x="57333" y="34564"/>
                      <a:pt x="56876" y="31730"/>
                      <a:pt x="56053" y="29078"/>
                    </a:cubicBezTo>
                    <a:cubicBezTo>
                      <a:pt x="55230" y="26426"/>
                      <a:pt x="53950" y="24140"/>
                      <a:pt x="52304" y="22128"/>
                    </a:cubicBezTo>
                    <a:cubicBezTo>
                      <a:pt x="50658" y="20117"/>
                      <a:pt x="48555" y="18562"/>
                      <a:pt x="46086" y="17374"/>
                    </a:cubicBezTo>
                    <a:cubicBezTo>
                      <a:pt x="43525" y="16185"/>
                      <a:pt x="40599" y="15636"/>
                      <a:pt x="37033" y="15636"/>
                    </a:cubicBezTo>
                    <a:cubicBezTo>
                      <a:pt x="34016" y="15636"/>
                      <a:pt x="31364" y="16093"/>
                      <a:pt x="29078" y="17099"/>
                    </a:cubicBezTo>
                    <a:cubicBezTo>
                      <a:pt x="26792" y="18105"/>
                      <a:pt x="24872" y="19477"/>
                      <a:pt x="23226" y="21397"/>
                    </a:cubicBezTo>
                    <a:cubicBezTo>
                      <a:pt x="21580" y="23226"/>
                      <a:pt x="20300" y="25512"/>
                      <a:pt x="19202" y="28164"/>
                    </a:cubicBezTo>
                    <a:cubicBezTo>
                      <a:pt x="18105" y="30815"/>
                      <a:pt x="17465" y="33924"/>
                      <a:pt x="17008" y="37490"/>
                    </a:cubicBezTo>
                    <a:lnTo>
                      <a:pt x="57607" y="37490"/>
                    </a:lnTo>
                    <a:close/>
                    <a:moveTo>
                      <a:pt x="74798" y="43800"/>
                    </a:moveTo>
                    <a:cubicBezTo>
                      <a:pt x="74798" y="45354"/>
                      <a:pt x="74706" y="46817"/>
                      <a:pt x="74615" y="48189"/>
                    </a:cubicBezTo>
                    <a:cubicBezTo>
                      <a:pt x="74524" y="49560"/>
                      <a:pt x="74432" y="50658"/>
                      <a:pt x="74249" y="51572"/>
                    </a:cubicBezTo>
                    <a:lnTo>
                      <a:pt x="16642" y="51572"/>
                    </a:lnTo>
                    <a:cubicBezTo>
                      <a:pt x="17099"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7" y="73518"/>
                    </a:cubicBezTo>
                    <a:cubicBezTo>
                      <a:pt x="50292" y="72878"/>
                      <a:pt x="51664" y="72238"/>
                      <a:pt x="52852" y="71506"/>
                    </a:cubicBezTo>
                    <a:cubicBezTo>
                      <a:pt x="54041" y="70866"/>
                      <a:pt x="55595" y="69769"/>
                      <a:pt x="57516" y="68489"/>
                    </a:cubicBezTo>
                    <a:lnTo>
                      <a:pt x="67666" y="79370"/>
                    </a:lnTo>
                    <a:cubicBezTo>
                      <a:pt x="65471" y="81382"/>
                      <a:pt x="63459" y="83119"/>
                      <a:pt x="61448" y="84308"/>
                    </a:cubicBezTo>
                    <a:cubicBezTo>
                      <a:pt x="59527"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469" y="63642"/>
                      <a:pt x="1463" y="59345"/>
                    </a:cubicBezTo>
                    <a:cubicBezTo>
                      <a:pt x="457" y="55138"/>
                      <a:pt x="0" y="50475"/>
                      <a:pt x="0" y="45446"/>
                    </a:cubicBezTo>
                    <a:cubicBezTo>
                      <a:pt x="0" y="38130"/>
                      <a:pt x="914" y="31547"/>
                      <a:pt x="2835" y="25878"/>
                    </a:cubicBezTo>
                    <a:cubicBezTo>
                      <a:pt x="4663" y="20208"/>
                      <a:pt x="7315" y="15453"/>
                      <a:pt x="10698" y="11613"/>
                    </a:cubicBezTo>
                    <a:cubicBezTo>
                      <a:pt x="14082" y="7772"/>
                      <a:pt x="18014" y="4846"/>
                      <a:pt x="22768"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4066" y="32278"/>
                      <a:pt x="74798" y="37856"/>
                      <a:pt x="74798"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8" name="Freeform: Shape 27">
                <a:extLst>
                  <a:ext uri="{FF2B5EF4-FFF2-40B4-BE49-F238E27FC236}">
                    <a16:creationId xmlns:a16="http://schemas.microsoft.com/office/drawing/2014/main" id="{D857BA56-D9B3-4268-89E4-9DE9F39C7B7C}"/>
                  </a:ext>
                </a:extLst>
              </p:cNvPr>
              <p:cNvSpPr/>
              <p:nvPr/>
            </p:nvSpPr>
            <p:spPr>
              <a:xfrm>
                <a:off x="1978523" y="6065672"/>
                <a:ext cx="64008" cy="82296"/>
              </a:xfrm>
              <a:custGeom>
                <a:avLst/>
                <a:gdLst>
                  <a:gd name="connsiteX0" fmla="*/ 62545 w 64008"/>
                  <a:gd name="connsiteY0" fmla="*/ 9693 h 82296"/>
                  <a:gd name="connsiteX1" fmla="*/ 55047 w 64008"/>
                  <a:gd name="connsiteY1" fmla="*/ 22860 h 82296"/>
                  <a:gd name="connsiteX2" fmla="*/ 44257 w 64008"/>
                  <a:gd name="connsiteY2" fmla="*/ 17191 h 82296"/>
                  <a:gd name="connsiteX3" fmla="*/ 32553 w 64008"/>
                  <a:gd name="connsiteY3" fmla="*/ 15362 h 82296"/>
                  <a:gd name="connsiteX4" fmla="*/ 23409 w 64008"/>
                  <a:gd name="connsiteY4" fmla="*/ 17556 h 82296"/>
                  <a:gd name="connsiteX5" fmla="*/ 20574 w 64008"/>
                  <a:gd name="connsiteY5" fmla="*/ 23226 h 82296"/>
                  <a:gd name="connsiteX6" fmla="*/ 21306 w 64008"/>
                  <a:gd name="connsiteY6" fmla="*/ 26335 h 82296"/>
                  <a:gd name="connsiteX7" fmla="*/ 23774 w 64008"/>
                  <a:gd name="connsiteY7" fmla="*/ 29261 h 82296"/>
                  <a:gd name="connsiteX8" fmla="*/ 28712 w 64008"/>
                  <a:gd name="connsiteY8" fmla="*/ 32370 h 82296"/>
                  <a:gd name="connsiteX9" fmla="*/ 36759 w 64008"/>
                  <a:gd name="connsiteY9" fmla="*/ 35936 h 82296"/>
                  <a:gd name="connsiteX10" fmla="*/ 49469 w 64008"/>
                  <a:gd name="connsiteY10" fmla="*/ 41331 h 82296"/>
                  <a:gd name="connsiteX11" fmla="*/ 58613 w 64008"/>
                  <a:gd name="connsiteY11" fmla="*/ 47092 h 82296"/>
                  <a:gd name="connsiteX12" fmla="*/ 64191 w 64008"/>
                  <a:gd name="connsiteY12" fmla="*/ 54590 h 82296"/>
                  <a:gd name="connsiteX13" fmla="*/ 66111 w 64008"/>
                  <a:gd name="connsiteY13" fmla="*/ 65014 h 82296"/>
                  <a:gd name="connsiteX14" fmla="*/ 63368 w 64008"/>
                  <a:gd name="connsiteY14" fmla="*/ 77175 h 82296"/>
                  <a:gd name="connsiteX15" fmla="*/ 56144 w 64008"/>
                  <a:gd name="connsiteY15" fmla="*/ 85131 h 82296"/>
                  <a:gd name="connsiteX16" fmla="*/ 45720 w 64008"/>
                  <a:gd name="connsiteY16" fmla="*/ 89428 h 82296"/>
                  <a:gd name="connsiteX17" fmla="*/ 33376 w 64008"/>
                  <a:gd name="connsiteY17" fmla="*/ 90708 h 82296"/>
                  <a:gd name="connsiteX18" fmla="*/ 16002 w 64008"/>
                  <a:gd name="connsiteY18" fmla="*/ 87691 h 82296"/>
                  <a:gd name="connsiteX19" fmla="*/ 0 w 64008"/>
                  <a:gd name="connsiteY19" fmla="*/ 79553 h 82296"/>
                  <a:gd name="connsiteX20" fmla="*/ 7772 w 64008"/>
                  <a:gd name="connsiteY20" fmla="*/ 66660 h 82296"/>
                  <a:gd name="connsiteX21" fmla="*/ 20483 w 64008"/>
                  <a:gd name="connsiteY21" fmla="*/ 73061 h 82296"/>
                  <a:gd name="connsiteX22" fmla="*/ 33193 w 64008"/>
                  <a:gd name="connsiteY22" fmla="*/ 75255 h 82296"/>
                  <a:gd name="connsiteX23" fmla="*/ 45171 w 64008"/>
                  <a:gd name="connsiteY23" fmla="*/ 72786 h 82296"/>
                  <a:gd name="connsiteX24" fmla="*/ 49103 w 64008"/>
                  <a:gd name="connsiteY24" fmla="*/ 65654 h 82296"/>
                  <a:gd name="connsiteX25" fmla="*/ 47732 w 64008"/>
                  <a:gd name="connsiteY25" fmla="*/ 61265 h 82296"/>
                  <a:gd name="connsiteX26" fmla="*/ 43708 w 64008"/>
                  <a:gd name="connsiteY26" fmla="*/ 57699 h 82296"/>
                  <a:gd name="connsiteX27" fmla="*/ 37399 w 64008"/>
                  <a:gd name="connsiteY27" fmla="*/ 54498 h 82296"/>
                  <a:gd name="connsiteX28" fmla="*/ 28986 w 64008"/>
                  <a:gd name="connsiteY28" fmla="*/ 51115 h 82296"/>
                  <a:gd name="connsiteX29" fmla="*/ 17008 w 64008"/>
                  <a:gd name="connsiteY29" fmla="*/ 45720 h 82296"/>
                  <a:gd name="connsiteX30" fmla="*/ 9053 w 64008"/>
                  <a:gd name="connsiteY30" fmla="*/ 39868 h 82296"/>
                  <a:gd name="connsiteX31" fmla="*/ 4663 w 64008"/>
                  <a:gd name="connsiteY31" fmla="*/ 32827 h 82296"/>
                  <a:gd name="connsiteX32" fmla="*/ 3292 w 64008"/>
                  <a:gd name="connsiteY32" fmla="*/ 23774 h 82296"/>
                  <a:gd name="connsiteX33" fmla="*/ 5486 w 64008"/>
                  <a:gd name="connsiteY33" fmla="*/ 13442 h 82296"/>
                  <a:gd name="connsiteX34" fmla="*/ 11613 w 64008"/>
                  <a:gd name="connsiteY34" fmla="*/ 6035 h 82296"/>
                  <a:gd name="connsiteX35" fmla="*/ 21031 w 64008"/>
                  <a:gd name="connsiteY35" fmla="*/ 1554 h 82296"/>
                  <a:gd name="connsiteX36" fmla="*/ 33010 w 64008"/>
                  <a:gd name="connsiteY36" fmla="*/ 0 h 82296"/>
                  <a:gd name="connsiteX37" fmla="*/ 49012 w 64008"/>
                  <a:gd name="connsiteY37" fmla="*/ 2652 h 82296"/>
                  <a:gd name="connsiteX38" fmla="*/ 62545 w 64008"/>
                  <a:gd name="connsiteY38" fmla="*/ 9693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4008" h="82296">
                    <a:moveTo>
                      <a:pt x="62545" y="9693"/>
                    </a:moveTo>
                    <a:lnTo>
                      <a:pt x="55047" y="22860"/>
                    </a:lnTo>
                    <a:cubicBezTo>
                      <a:pt x="51481" y="20300"/>
                      <a:pt x="47915" y="18471"/>
                      <a:pt x="44257" y="17191"/>
                    </a:cubicBezTo>
                    <a:cubicBezTo>
                      <a:pt x="40599" y="16002"/>
                      <a:pt x="36667" y="15362"/>
                      <a:pt x="32553" y="15362"/>
                    </a:cubicBezTo>
                    <a:cubicBezTo>
                      <a:pt x="28346" y="15362"/>
                      <a:pt x="25329" y="16093"/>
                      <a:pt x="23409" y="17556"/>
                    </a:cubicBezTo>
                    <a:cubicBezTo>
                      <a:pt x="21488" y="19020"/>
                      <a:pt x="20574" y="20940"/>
                      <a:pt x="20574" y="23226"/>
                    </a:cubicBezTo>
                    <a:cubicBezTo>
                      <a:pt x="20574" y="24323"/>
                      <a:pt x="20848" y="25329"/>
                      <a:pt x="21306" y="26335"/>
                    </a:cubicBezTo>
                    <a:cubicBezTo>
                      <a:pt x="21763" y="27341"/>
                      <a:pt x="22586" y="28255"/>
                      <a:pt x="23774" y="29261"/>
                    </a:cubicBezTo>
                    <a:cubicBezTo>
                      <a:pt x="24963" y="30267"/>
                      <a:pt x="26609" y="31272"/>
                      <a:pt x="28712" y="32370"/>
                    </a:cubicBezTo>
                    <a:cubicBezTo>
                      <a:pt x="30815" y="33467"/>
                      <a:pt x="33467" y="34656"/>
                      <a:pt x="36759" y="35936"/>
                    </a:cubicBezTo>
                    <a:cubicBezTo>
                      <a:pt x="41605" y="37856"/>
                      <a:pt x="45903" y="39685"/>
                      <a:pt x="49469" y="41331"/>
                    </a:cubicBezTo>
                    <a:cubicBezTo>
                      <a:pt x="53127" y="43068"/>
                      <a:pt x="56144" y="44988"/>
                      <a:pt x="58613" y="47092"/>
                    </a:cubicBezTo>
                    <a:cubicBezTo>
                      <a:pt x="61082" y="49195"/>
                      <a:pt x="62911" y="51755"/>
                      <a:pt x="64191" y="54590"/>
                    </a:cubicBezTo>
                    <a:cubicBezTo>
                      <a:pt x="65471" y="57424"/>
                      <a:pt x="66111" y="60899"/>
                      <a:pt x="66111" y="65014"/>
                    </a:cubicBezTo>
                    <a:cubicBezTo>
                      <a:pt x="66111" y="69860"/>
                      <a:pt x="65197" y="73884"/>
                      <a:pt x="63368" y="77175"/>
                    </a:cubicBezTo>
                    <a:cubicBezTo>
                      <a:pt x="61539" y="80467"/>
                      <a:pt x="59162" y="83119"/>
                      <a:pt x="56144" y="85131"/>
                    </a:cubicBezTo>
                    <a:cubicBezTo>
                      <a:pt x="53127" y="87142"/>
                      <a:pt x="49652" y="88605"/>
                      <a:pt x="45720" y="89428"/>
                    </a:cubicBezTo>
                    <a:cubicBezTo>
                      <a:pt x="41788" y="90251"/>
                      <a:pt x="37673" y="90708"/>
                      <a:pt x="33376" y="90708"/>
                    </a:cubicBezTo>
                    <a:cubicBezTo>
                      <a:pt x="27889" y="90708"/>
                      <a:pt x="22037" y="89703"/>
                      <a:pt x="16002" y="87691"/>
                    </a:cubicBezTo>
                    <a:cubicBezTo>
                      <a:pt x="9876" y="85679"/>
                      <a:pt x="4572" y="82936"/>
                      <a:pt x="0" y="79553"/>
                    </a:cubicBezTo>
                    <a:lnTo>
                      <a:pt x="7772" y="66660"/>
                    </a:lnTo>
                    <a:cubicBezTo>
                      <a:pt x="11887" y="69494"/>
                      <a:pt x="16093" y="71598"/>
                      <a:pt x="20483" y="73061"/>
                    </a:cubicBezTo>
                    <a:cubicBezTo>
                      <a:pt x="24872" y="74524"/>
                      <a:pt x="29078" y="75255"/>
                      <a:pt x="33193" y="75255"/>
                    </a:cubicBezTo>
                    <a:cubicBezTo>
                      <a:pt x="38588" y="75255"/>
                      <a:pt x="42611" y="74432"/>
                      <a:pt x="45171" y="72786"/>
                    </a:cubicBezTo>
                    <a:cubicBezTo>
                      <a:pt x="47732" y="71140"/>
                      <a:pt x="49103" y="68763"/>
                      <a:pt x="49103" y="65654"/>
                    </a:cubicBezTo>
                    <a:cubicBezTo>
                      <a:pt x="49103" y="64008"/>
                      <a:pt x="48646" y="62545"/>
                      <a:pt x="47732" y="61265"/>
                    </a:cubicBezTo>
                    <a:cubicBezTo>
                      <a:pt x="46817" y="59985"/>
                      <a:pt x="45446" y="58796"/>
                      <a:pt x="43708" y="57699"/>
                    </a:cubicBezTo>
                    <a:cubicBezTo>
                      <a:pt x="41971" y="56601"/>
                      <a:pt x="39868" y="55504"/>
                      <a:pt x="37399" y="54498"/>
                    </a:cubicBezTo>
                    <a:cubicBezTo>
                      <a:pt x="34930" y="53401"/>
                      <a:pt x="32095" y="52304"/>
                      <a:pt x="28986" y="51115"/>
                    </a:cubicBezTo>
                    <a:cubicBezTo>
                      <a:pt x="24323" y="49286"/>
                      <a:pt x="20300" y="47457"/>
                      <a:pt x="17008" y="45720"/>
                    </a:cubicBezTo>
                    <a:cubicBezTo>
                      <a:pt x="13716" y="43983"/>
                      <a:pt x="11064" y="41971"/>
                      <a:pt x="9053" y="39868"/>
                    </a:cubicBezTo>
                    <a:cubicBezTo>
                      <a:pt x="7041" y="37765"/>
                      <a:pt x="5578" y="35387"/>
                      <a:pt x="4663" y="32827"/>
                    </a:cubicBezTo>
                    <a:cubicBezTo>
                      <a:pt x="3749" y="30267"/>
                      <a:pt x="3292" y="27249"/>
                      <a:pt x="3292" y="23774"/>
                    </a:cubicBezTo>
                    <a:cubicBezTo>
                      <a:pt x="3292" y="19934"/>
                      <a:pt x="4023" y="16459"/>
                      <a:pt x="5486" y="13442"/>
                    </a:cubicBezTo>
                    <a:cubicBezTo>
                      <a:pt x="6949" y="10516"/>
                      <a:pt x="8961" y="8047"/>
                      <a:pt x="11613" y="6035"/>
                    </a:cubicBezTo>
                    <a:cubicBezTo>
                      <a:pt x="14265" y="4023"/>
                      <a:pt x="17374" y="2560"/>
                      <a:pt x="21031" y="1554"/>
                    </a:cubicBezTo>
                    <a:cubicBezTo>
                      <a:pt x="24689" y="549"/>
                      <a:pt x="28621" y="0"/>
                      <a:pt x="33010" y="0"/>
                    </a:cubicBezTo>
                    <a:cubicBezTo>
                      <a:pt x="38496" y="0"/>
                      <a:pt x="43800" y="914"/>
                      <a:pt x="49012" y="2652"/>
                    </a:cubicBezTo>
                    <a:cubicBezTo>
                      <a:pt x="54224" y="4481"/>
                      <a:pt x="58704" y="6767"/>
                      <a:pt x="62545" y="9693"/>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7" name="Freeform: Shape 56">
                <a:extLst>
                  <a:ext uri="{FF2B5EF4-FFF2-40B4-BE49-F238E27FC236}">
                    <a16:creationId xmlns:a16="http://schemas.microsoft.com/office/drawing/2014/main" id="{2128D96E-7497-4096-9588-20C914C1966C}"/>
                  </a:ext>
                </a:extLst>
              </p:cNvPr>
              <p:cNvSpPr/>
              <p:nvPr/>
            </p:nvSpPr>
            <p:spPr>
              <a:xfrm>
                <a:off x="2054509" y="6033760"/>
                <a:ext cx="45720" cy="118872"/>
              </a:xfrm>
              <a:custGeom>
                <a:avLst/>
                <a:gdLst>
                  <a:gd name="connsiteX0" fmla="*/ 48738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9 w 45720"/>
                  <a:gd name="connsiteY20" fmla="*/ 106619 h 118872"/>
                  <a:gd name="connsiteX21" fmla="*/ 38222 w 45720"/>
                  <a:gd name="connsiteY21" fmla="*/ 107076 h 118872"/>
                  <a:gd name="connsiteX22" fmla="*/ 44988 w 45720"/>
                  <a:gd name="connsiteY22" fmla="*/ 105979 h 118872"/>
                  <a:gd name="connsiteX23" fmla="*/ 50749 w 45720"/>
                  <a:gd name="connsiteY23" fmla="*/ 103510 h 118872"/>
                  <a:gd name="connsiteX24" fmla="*/ 48738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8" y="118689"/>
                    </a:moveTo>
                    <a:cubicBezTo>
                      <a:pt x="46634" y="119878"/>
                      <a:pt x="44166" y="120884"/>
                      <a:pt x="41331" y="121615"/>
                    </a:cubicBezTo>
                    <a:cubicBezTo>
                      <a:pt x="38496" y="122347"/>
                      <a:pt x="35387" y="122712"/>
                      <a:pt x="32004" y="122712"/>
                    </a:cubicBezTo>
                    <a:cubicBezTo>
                      <a:pt x="29078" y="122712"/>
                      <a:pt x="26426" y="122255"/>
                      <a:pt x="24232" y="121432"/>
                    </a:cubicBezTo>
                    <a:cubicBezTo>
                      <a:pt x="21946"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3053"/>
                      <a:pt x="30632" y="104059"/>
                      <a:pt x="31364" y="104882"/>
                    </a:cubicBezTo>
                    <a:cubicBezTo>
                      <a:pt x="32095" y="105705"/>
                      <a:pt x="33010" y="106253"/>
                      <a:pt x="34199" y="106619"/>
                    </a:cubicBezTo>
                    <a:cubicBezTo>
                      <a:pt x="35387" y="106893"/>
                      <a:pt x="36667" y="107076"/>
                      <a:pt x="38222" y="107076"/>
                    </a:cubicBezTo>
                    <a:cubicBezTo>
                      <a:pt x="40416" y="107076"/>
                      <a:pt x="42702" y="106710"/>
                      <a:pt x="44988" y="105979"/>
                    </a:cubicBezTo>
                    <a:cubicBezTo>
                      <a:pt x="47274" y="105247"/>
                      <a:pt x="49195" y="104516"/>
                      <a:pt x="50749" y="103510"/>
                    </a:cubicBezTo>
                    <a:lnTo>
                      <a:pt x="48738"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8" name="Freeform: Shape 57">
                <a:extLst>
                  <a:ext uri="{FF2B5EF4-FFF2-40B4-BE49-F238E27FC236}">
                    <a16:creationId xmlns:a16="http://schemas.microsoft.com/office/drawing/2014/main" id="{1C105520-93AB-4E1F-B81A-11931DA4B9C0}"/>
                  </a:ext>
                </a:extLst>
              </p:cNvPr>
              <p:cNvSpPr/>
              <p:nvPr/>
            </p:nvSpPr>
            <p:spPr>
              <a:xfrm>
                <a:off x="2123364" y="6034126"/>
                <a:ext cx="18288" cy="118872"/>
              </a:xfrm>
              <a:custGeom>
                <a:avLst/>
                <a:gdLst>
                  <a:gd name="connsiteX0" fmla="*/ 2560 w 18288"/>
                  <a:gd name="connsiteY0" fmla="*/ 33467 h 118872"/>
                  <a:gd name="connsiteX1" fmla="*/ 19660 w 18288"/>
                  <a:gd name="connsiteY1" fmla="*/ 33467 h 118872"/>
                  <a:gd name="connsiteX2" fmla="*/ 19660 w 18288"/>
                  <a:gd name="connsiteY2" fmla="*/ 120518 h 118872"/>
                  <a:gd name="connsiteX3" fmla="*/ 2560 w 18288"/>
                  <a:gd name="connsiteY3" fmla="*/ 120518 h 118872"/>
                  <a:gd name="connsiteX4" fmla="*/ 2560 w 18288"/>
                  <a:gd name="connsiteY4" fmla="*/ 33467 h 118872"/>
                  <a:gd name="connsiteX5" fmla="*/ 22128 w 18288"/>
                  <a:gd name="connsiteY5" fmla="*/ 11156 h 118872"/>
                  <a:gd name="connsiteX6" fmla="*/ 21214 w 18288"/>
                  <a:gd name="connsiteY6" fmla="*/ 15453 h 118872"/>
                  <a:gd name="connsiteX7" fmla="*/ 18837 w 18288"/>
                  <a:gd name="connsiteY7" fmla="*/ 18928 h 118872"/>
                  <a:gd name="connsiteX8" fmla="*/ 15362 w 18288"/>
                  <a:gd name="connsiteY8" fmla="*/ 21306 h 118872"/>
                  <a:gd name="connsiteX9" fmla="*/ 11156 w 18288"/>
                  <a:gd name="connsiteY9" fmla="*/ 22220 h 118872"/>
                  <a:gd name="connsiteX10" fmla="*/ 6858 w 18288"/>
                  <a:gd name="connsiteY10" fmla="*/ 21306 h 118872"/>
                  <a:gd name="connsiteX11" fmla="*/ 3292 w 18288"/>
                  <a:gd name="connsiteY11" fmla="*/ 18928 h 118872"/>
                  <a:gd name="connsiteX12" fmla="*/ 914 w 18288"/>
                  <a:gd name="connsiteY12" fmla="*/ 15453 h 118872"/>
                  <a:gd name="connsiteX13" fmla="*/ 0 w 18288"/>
                  <a:gd name="connsiteY13" fmla="*/ 11156 h 118872"/>
                  <a:gd name="connsiteX14" fmla="*/ 914 w 18288"/>
                  <a:gd name="connsiteY14" fmla="*/ 6858 h 118872"/>
                  <a:gd name="connsiteX15" fmla="*/ 3292 w 18288"/>
                  <a:gd name="connsiteY15" fmla="*/ 3292 h 118872"/>
                  <a:gd name="connsiteX16" fmla="*/ 6858 w 18288"/>
                  <a:gd name="connsiteY16" fmla="*/ 914 h 118872"/>
                  <a:gd name="connsiteX17" fmla="*/ 11156 w 18288"/>
                  <a:gd name="connsiteY17" fmla="*/ 0 h 118872"/>
                  <a:gd name="connsiteX18" fmla="*/ 15362 w 18288"/>
                  <a:gd name="connsiteY18" fmla="*/ 914 h 118872"/>
                  <a:gd name="connsiteX19" fmla="*/ 18837 w 18288"/>
                  <a:gd name="connsiteY19" fmla="*/ 3292 h 118872"/>
                  <a:gd name="connsiteX20" fmla="*/ 21214 w 18288"/>
                  <a:gd name="connsiteY20" fmla="*/ 6858 h 118872"/>
                  <a:gd name="connsiteX21" fmla="*/ 22128 w 18288"/>
                  <a:gd name="connsiteY21" fmla="*/ 11156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288" h="118872">
                    <a:moveTo>
                      <a:pt x="2560" y="33467"/>
                    </a:moveTo>
                    <a:lnTo>
                      <a:pt x="19660" y="33467"/>
                    </a:lnTo>
                    <a:lnTo>
                      <a:pt x="19660" y="120518"/>
                    </a:lnTo>
                    <a:lnTo>
                      <a:pt x="2560" y="120518"/>
                    </a:lnTo>
                    <a:lnTo>
                      <a:pt x="2560" y="33467"/>
                    </a:lnTo>
                    <a:close/>
                    <a:moveTo>
                      <a:pt x="22128" y="11156"/>
                    </a:moveTo>
                    <a:cubicBezTo>
                      <a:pt x="22128" y="12710"/>
                      <a:pt x="21854" y="14082"/>
                      <a:pt x="21214" y="15453"/>
                    </a:cubicBezTo>
                    <a:cubicBezTo>
                      <a:pt x="20574" y="16825"/>
                      <a:pt x="19842" y="17922"/>
                      <a:pt x="18837" y="18928"/>
                    </a:cubicBezTo>
                    <a:cubicBezTo>
                      <a:pt x="17831" y="19934"/>
                      <a:pt x="16642" y="20757"/>
                      <a:pt x="15362" y="21306"/>
                    </a:cubicBezTo>
                    <a:cubicBezTo>
                      <a:pt x="14082" y="21946"/>
                      <a:pt x="12619" y="22220"/>
                      <a:pt x="11156" y="22220"/>
                    </a:cubicBezTo>
                    <a:cubicBezTo>
                      <a:pt x="9601" y="22220"/>
                      <a:pt x="8230" y="21946"/>
                      <a:pt x="6858" y="21306"/>
                    </a:cubicBezTo>
                    <a:cubicBezTo>
                      <a:pt x="5486" y="20757"/>
                      <a:pt x="4298" y="19934"/>
                      <a:pt x="3292" y="18928"/>
                    </a:cubicBezTo>
                    <a:cubicBezTo>
                      <a:pt x="2286" y="17922"/>
                      <a:pt x="1554" y="16734"/>
                      <a:pt x="914" y="15453"/>
                    </a:cubicBezTo>
                    <a:cubicBezTo>
                      <a:pt x="274" y="14173"/>
                      <a:pt x="0" y="12710"/>
                      <a:pt x="0" y="11156"/>
                    </a:cubicBezTo>
                    <a:cubicBezTo>
                      <a:pt x="0" y="9693"/>
                      <a:pt x="274" y="8230"/>
                      <a:pt x="914" y="6858"/>
                    </a:cubicBezTo>
                    <a:cubicBezTo>
                      <a:pt x="1554" y="5486"/>
                      <a:pt x="2286" y="4298"/>
                      <a:pt x="3292" y="3292"/>
                    </a:cubicBezTo>
                    <a:cubicBezTo>
                      <a:pt x="4298" y="2286"/>
                      <a:pt x="5486" y="1463"/>
                      <a:pt x="6858" y="914"/>
                    </a:cubicBezTo>
                    <a:cubicBezTo>
                      <a:pt x="8230" y="274"/>
                      <a:pt x="9601" y="0"/>
                      <a:pt x="11156" y="0"/>
                    </a:cubicBezTo>
                    <a:cubicBezTo>
                      <a:pt x="12710" y="0"/>
                      <a:pt x="14082" y="274"/>
                      <a:pt x="15362" y="914"/>
                    </a:cubicBezTo>
                    <a:cubicBezTo>
                      <a:pt x="16642" y="1463"/>
                      <a:pt x="17831" y="2286"/>
                      <a:pt x="18837" y="3292"/>
                    </a:cubicBezTo>
                    <a:cubicBezTo>
                      <a:pt x="19842" y="4298"/>
                      <a:pt x="20574" y="5486"/>
                      <a:pt x="21214" y="6858"/>
                    </a:cubicBezTo>
                    <a:cubicBezTo>
                      <a:pt x="21854" y="8230"/>
                      <a:pt x="22128" y="9601"/>
                      <a:pt x="22128" y="11156"/>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9" name="Freeform: Shape 58">
                <a:extLst>
                  <a:ext uri="{FF2B5EF4-FFF2-40B4-BE49-F238E27FC236}">
                    <a16:creationId xmlns:a16="http://schemas.microsoft.com/office/drawing/2014/main" id="{D43A3C56-6ABE-49CE-9AA1-A54CDD03B8C1}"/>
                  </a:ext>
                </a:extLst>
              </p:cNvPr>
              <p:cNvSpPr/>
              <p:nvPr/>
            </p:nvSpPr>
            <p:spPr>
              <a:xfrm>
                <a:off x="2161494" y="6065764"/>
                <a:ext cx="73152" cy="82296"/>
              </a:xfrm>
              <a:custGeom>
                <a:avLst/>
                <a:gdLst>
                  <a:gd name="connsiteX0" fmla="*/ 60442 w 73152"/>
                  <a:gd name="connsiteY0" fmla="*/ 45354 h 82296"/>
                  <a:gd name="connsiteX1" fmla="*/ 58887 w 73152"/>
                  <a:gd name="connsiteY1" fmla="*/ 33284 h 82296"/>
                  <a:gd name="connsiteX2" fmla="*/ 54498 w 73152"/>
                  <a:gd name="connsiteY2" fmla="*/ 24140 h 82296"/>
                  <a:gd name="connsiteX3" fmla="*/ 47457 w 73152"/>
                  <a:gd name="connsiteY3" fmla="*/ 18288 h 82296"/>
                  <a:gd name="connsiteX4" fmla="*/ 38130 w 73152"/>
                  <a:gd name="connsiteY4" fmla="*/ 16185 h 82296"/>
                  <a:gd name="connsiteX5" fmla="*/ 29444 w 73152"/>
                  <a:gd name="connsiteY5" fmla="*/ 18288 h 82296"/>
                  <a:gd name="connsiteX6" fmla="*/ 22860 w 73152"/>
                  <a:gd name="connsiteY6" fmla="*/ 24140 h 82296"/>
                  <a:gd name="connsiteX7" fmla="*/ 18654 w 73152"/>
                  <a:gd name="connsiteY7" fmla="*/ 33193 h 82296"/>
                  <a:gd name="connsiteX8" fmla="*/ 17191 w 73152"/>
                  <a:gd name="connsiteY8" fmla="*/ 44897 h 82296"/>
                  <a:gd name="connsiteX9" fmla="*/ 18745 w 73152"/>
                  <a:gd name="connsiteY9" fmla="*/ 57607 h 82296"/>
                  <a:gd name="connsiteX10" fmla="*/ 23226 w 73152"/>
                  <a:gd name="connsiteY10" fmla="*/ 66843 h 82296"/>
                  <a:gd name="connsiteX11" fmla="*/ 30084 w 73152"/>
                  <a:gd name="connsiteY11" fmla="*/ 72512 h 82296"/>
                  <a:gd name="connsiteX12" fmla="*/ 38954 w 73152"/>
                  <a:gd name="connsiteY12" fmla="*/ 74432 h 82296"/>
                  <a:gd name="connsiteX13" fmla="*/ 47732 w 73152"/>
                  <a:gd name="connsiteY13" fmla="*/ 72146 h 82296"/>
                  <a:gd name="connsiteX14" fmla="*/ 54498 w 73152"/>
                  <a:gd name="connsiteY14" fmla="*/ 65928 h 82296"/>
                  <a:gd name="connsiteX15" fmla="*/ 58796 w 73152"/>
                  <a:gd name="connsiteY15" fmla="*/ 56693 h 82296"/>
                  <a:gd name="connsiteX16" fmla="*/ 60442 w 73152"/>
                  <a:gd name="connsiteY16" fmla="*/ 45354 h 82296"/>
                  <a:gd name="connsiteX17" fmla="*/ 77724 w 73152"/>
                  <a:gd name="connsiteY17" fmla="*/ 44897 h 82296"/>
                  <a:gd name="connsiteX18" fmla="*/ 74706 w 73152"/>
                  <a:gd name="connsiteY18" fmla="*/ 64282 h 82296"/>
                  <a:gd name="connsiteX19" fmla="*/ 66477 w 73152"/>
                  <a:gd name="connsiteY19" fmla="*/ 78730 h 82296"/>
                  <a:gd name="connsiteX20" fmla="*/ 53950 w 73152"/>
                  <a:gd name="connsiteY20" fmla="*/ 87691 h 82296"/>
                  <a:gd name="connsiteX21" fmla="*/ 38405 w 73152"/>
                  <a:gd name="connsiteY21" fmla="*/ 90800 h 82296"/>
                  <a:gd name="connsiteX22" fmla="*/ 23134 w 73152"/>
                  <a:gd name="connsiteY22" fmla="*/ 87600 h 82296"/>
                  <a:gd name="connsiteX23" fmla="*/ 10973 w 73152"/>
                  <a:gd name="connsiteY23" fmla="*/ 78364 h 82296"/>
                  <a:gd name="connsiteX24" fmla="*/ 2926 w 73152"/>
                  <a:gd name="connsiteY24" fmla="*/ 64008 h 82296"/>
                  <a:gd name="connsiteX25" fmla="*/ 0 w 73152"/>
                  <a:gd name="connsiteY25" fmla="*/ 45446 h 82296"/>
                  <a:gd name="connsiteX26" fmla="*/ 3018 w 73152"/>
                  <a:gd name="connsiteY26" fmla="*/ 26335 h 82296"/>
                  <a:gd name="connsiteX27" fmla="*/ 11247 w 73152"/>
                  <a:gd name="connsiteY27" fmla="*/ 12070 h 82296"/>
                  <a:gd name="connsiteX28" fmla="*/ 23592 w 73152"/>
                  <a:gd name="connsiteY28" fmla="*/ 3109 h 82296"/>
                  <a:gd name="connsiteX29" fmla="*/ 38954 w 73152"/>
                  <a:gd name="connsiteY29" fmla="*/ 0 h 82296"/>
                  <a:gd name="connsiteX30" fmla="*/ 54407 w 73152"/>
                  <a:gd name="connsiteY30" fmla="*/ 3200 h 82296"/>
                  <a:gd name="connsiteX31" fmla="*/ 66660 w 73152"/>
                  <a:gd name="connsiteY31" fmla="*/ 12253 h 82296"/>
                  <a:gd name="connsiteX32" fmla="*/ 74798 w 73152"/>
                  <a:gd name="connsiteY32" fmla="*/ 26426 h 82296"/>
                  <a:gd name="connsiteX33" fmla="*/ 77724 w 73152"/>
                  <a:gd name="connsiteY33" fmla="*/ 44897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152" h="82296">
                    <a:moveTo>
                      <a:pt x="60442" y="45354"/>
                    </a:moveTo>
                    <a:cubicBezTo>
                      <a:pt x="60442" y="40965"/>
                      <a:pt x="59893" y="36942"/>
                      <a:pt x="58887" y="33284"/>
                    </a:cubicBezTo>
                    <a:cubicBezTo>
                      <a:pt x="57882" y="29718"/>
                      <a:pt x="56418" y="26609"/>
                      <a:pt x="54498" y="24140"/>
                    </a:cubicBezTo>
                    <a:cubicBezTo>
                      <a:pt x="52578" y="21580"/>
                      <a:pt x="50201" y="19660"/>
                      <a:pt x="47457" y="18288"/>
                    </a:cubicBezTo>
                    <a:cubicBezTo>
                      <a:pt x="44714" y="16916"/>
                      <a:pt x="41605" y="16185"/>
                      <a:pt x="38130" y="16185"/>
                    </a:cubicBezTo>
                    <a:cubicBezTo>
                      <a:pt x="34930" y="16185"/>
                      <a:pt x="32004" y="16916"/>
                      <a:pt x="29444" y="18288"/>
                    </a:cubicBezTo>
                    <a:cubicBezTo>
                      <a:pt x="26883" y="19660"/>
                      <a:pt x="24689" y="21580"/>
                      <a:pt x="22860" y="24140"/>
                    </a:cubicBezTo>
                    <a:cubicBezTo>
                      <a:pt x="21031" y="26700"/>
                      <a:pt x="19660" y="29627"/>
                      <a:pt x="18654" y="33193"/>
                    </a:cubicBezTo>
                    <a:cubicBezTo>
                      <a:pt x="17648" y="36667"/>
                      <a:pt x="17191" y="40599"/>
                      <a:pt x="17191" y="44897"/>
                    </a:cubicBezTo>
                    <a:cubicBezTo>
                      <a:pt x="17191" y="49743"/>
                      <a:pt x="17739" y="53950"/>
                      <a:pt x="18745" y="57607"/>
                    </a:cubicBezTo>
                    <a:cubicBezTo>
                      <a:pt x="19751" y="61265"/>
                      <a:pt x="21306" y="64374"/>
                      <a:pt x="23226" y="66843"/>
                    </a:cubicBezTo>
                    <a:cubicBezTo>
                      <a:pt x="25146" y="69312"/>
                      <a:pt x="27432" y="71232"/>
                      <a:pt x="30084" y="72512"/>
                    </a:cubicBezTo>
                    <a:cubicBezTo>
                      <a:pt x="32736" y="73792"/>
                      <a:pt x="35753" y="74432"/>
                      <a:pt x="38954" y="74432"/>
                    </a:cubicBezTo>
                    <a:cubicBezTo>
                      <a:pt x="42154" y="74432"/>
                      <a:pt x="45080" y="73701"/>
                      <a:pt x="47732" y="72146"/>
                    </a:cubicBezTo>
                    <a:cubicBezTo>
                      <a:pt x="50384" y="70592"/>
                      <a:pt x="52578" y="68489"/>
                      <a:pt x="54498" y="65928"/>
                    </a:cubicBezTo>
                    <a:cubicBezTo>
                      <a:pt x="56327" y="63276"/>
                      <a:pt x="57790" y="60259"/>
                      <a:pt x="58796" y="56693"/>
                    </a:cubicBezTo>
                    <a:cubicBezTo>
                      <a:pt x="59985" y="53127"/>
                      <a:pt x="60442" y="49378"/>
                      <a:pt x="60442" y="45354"/>
                    </a:cubicBezTo>
                    <a:moveTo>
                      <a:pt x="77724" y="44897"/>
                    </a:moveTo>
                    <a:cubicBezTo>
                      <a:pt x="77724" y="52121"/>
                      <a:pt x="76718" y="58613"/>
                      <a:pt x="74706" y="64282"/>
                    </a:cubicBezTo>
                    <a:cubicBezTo>
                      <a:pt x="72695" y="69952"/>
                      <a:pt x="69952" y="74798"/>
                      <a:pt x="66477" y="78730"/>
                    </a:cubicBezTo>
                    <a:cubicBezTo>
                      <a:pt x="63002" y="82662"/>
                      <a:pt x="58796" y="85679"/>
                      <a:pt x="53950" y="87691"/>
                    </a:cubicBezTo>
                    <a:cubicBezTo>
                      <a:pt x="49103" y="89703"/>
                      <a:pt x="43983" y="90800"/>
                      <a:pt x="38405" y="90800"/>
                    </a:cubicBezTo>
                    <a:cubicBezTo>
                      <a:pt x="32918" y="90800"/>
                      <a:pt x="27798" y="89703"/>
                      <a:pt x="23134" y="87600"/>
                    </a:cubicBezTo>
                    <a:cubicBezTo>
                      <a:pt x="18471" y="85405"/>
                      <a:pt x="14448" y="82387"/>
                      <a:pt x="10973" y="78364"/>
                    </a:cubicBezTo>
                    <a:cubicBezTo>
                      <a:pt x="7498" y="74341"/>
                      <a:pt x="4846" y="69586"/>
                      <a:pt x="2926" y="64008"/>
                    </a:cubicBezTo>
                    <a:cubicBezTo>
                      <a:pt x="1006" y="58430"/>
                      <a:pt x="0" y="52212"/>
                      <a:pt x="0" y="45446"/>
                    </a:cubicBezTo>
                    <a:cubicBezTo>
                      <a:pt x="0" y="38313"/>
                      <a:pt x="1006" y="31913"/>
                      <a:pt x="3018" y="26335"/>
                    </a:cubicBezTo>
                    <a:cubicBezTo>
                      <a:pt x="5029" y="20757"/>
                      <a:pt x="7772" y="15911"/>
                      <a:pt x="11247" y="12070"/>
                    </a:cubicBezTo>
                    <a:cubicBezTo>
                      <a:pt x="14722" y="8138"/>
                      <a:pt x="18837" y="5212"/>
                      <a:pt x="23592" y="3109"/>
                    </a:cubicBezTo>
                    <a:cubicBezTo>
                      <a:pt x="28346" y="1006"/>
                      <a:pt x="33467" y="0"/>
                      <a:pt x="38954" y="0"/>
                    </a:cubicBezTo>
                    <a:cubicBezTo>
                      <a:pt x="44531" y="0"/>
                      <a:pt x="49652" y="1097"/>
                      <a:pt x="54407" y="3200"/>
                    </a:cubicBezTo>
                    <a:cubicBezTo>
                      <a:pt x="59162" y="5304"/>
                      <a:pt x="63185" y="8412"/>
                      <a:pt x="66660" y="12253"/>
                    </a:cubicBezTo>
                    <a:cubicBezTo>
                      <a:pt x="70134" y="16185"/>
                      <a:pt x="72786" y="20848"/>
                      <a:pt x="74798" y="26426"/>
                    </a:cubicBezTo>
                    <a:cubicBezTo>
                      <a:pt x="76718" y="31913"/>
                      <a:pt x="77724" y="38039"/>
                      <a:pt x="77724" y="44897"/>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0" name="Freeform: Shape 59">
                <a:extLst>
                  <a:ext uri="{FF2B5EF4-FFF2-40B4-BE49-F238E27FC236}">
                    <a16:creationId xmlns:a16="http://schemas.microsoft.com/office/drawing/2014/main" id="{4D61F452-5036-4CAA-B929-629545BFA66C}"/>
                  </a:ext>
                </a:extLst>
              </p:cNvPr>
              <p:cNvSpPr/>
              <p:nvPr/>
            </p:nvSpPr>
            <p:spPr>
              <a:xfrm>
                <a:off x="2256866" y="6065672"/>
                <a:ext cx="64008" cy="82296"/>
              </a:xfrm>
              <a:custGeom>
                <a:avLst/>
                <a:gdLst>
                  <a:gd name="connsiteX0" fmla="*/ 52944 w 64008"/>
                  <a:gd name="connsiteY0" fmla="*/ 88971 h 82296"/>
                  <a:gd name="connsiteX1" fmla="*/ 52944 w 64008"/>
                  <a:gd name="connsiteY1" fmla="*/ 39685 h 82296"/>
                  <a:gd name="connsiteX2" fmla="*/ 48738 w 64008"/>
                  <a:gd name="connsiteY2" fmla="*/ 21854 h 82296"/>
                  <a:gd name="connsiteX3" fmla="*/ 35022 w 64008"/>
                  <a:gd name="connsiteY3" fmla="*/ 15819 h 82296"/>
                  <a:gd name="connsiteX4" fmla="*/ 27432 w 64008"/>
                  <a:gd name="connsiteY4" fmla="*/ 17282 h 82296"/>
                  <a:gd name="connsiteX5" fmla="*/ 21580 w 64008"/>
                  <a:gd name="connsiteY5" fmla="*/ 21854 h 82296"/>
                  <a:gd name="connsiteX6" fmla="*/ 18196 w 64008"/>
                  <a:gd name="connsiteY6" fmla="*/ 29078 h 82296"/>
                  <a:gd name="connsiteX7" fmla="*/ 17099 w 64008"/>
                  <a:gd name="connsiteY7" fmla="*/ 38039 h 82296"/>
                  <a:gd name="connsiteX8" fmla="*/ 17099 w 64008"/>
                  <a:gd name="connsiteY8" fmla="*/ 88971 h 82296"/>
                  <a:gd name="connsiteX9" fmla="*/ 0 w 64008"/>
                  <a:gd name="connsiteY9" fmla="*/ 88971 h 82296"/>
                  <a:gd name="connsiteX10" fmla="*/ 0 w 64008"/>
                  <a:gd name="connsiteY10" fmla="*/ 1920 h 82296"/>
                  <a:gd name="connsiteX11" fmla="*/ 17099 w 64008"/>
                  <a:gd name="connsiteY11" fmla="*/ 1920 h 82296"/>
                  <a:gd name="connsiteX12" fmla="*/ 17099 w 64008"/>
                  <a:gd name="connsiteY12" fmla="*/ 10150 h 82296"/>
                  <a:gd name="connsiteX13" fmla="*/ 21031 w 64008"/>
                  <a:gd name="connsiteY13" fmla="*/ 5944 h 82296"/>
                  <a:gd name="connsiteX14" fmla="*/ 26243 w 64008"/>
                  <a:gd name="connsiteY14" fmla="*/ 2743 h 82296"/>
                  <a:gd name="connsiteX15" fmla="*/ 32278 w 64008"/>
                  <a:gd name="connsiteY15" fmla="*/ 732 h 82296"/>
                  <a:gd name="connsiteX16" fmla="*/ 38953 w 64008"/>
                  <a:gd name="connsiteY16" fmla="*/ 0 h 82296"/>
                  <a:gd name="connsiteX17" fmla="*/ 52578 w 64008"/>
                  <a:gd name="connsiteY17" fmla="*/ 2560 h 82296"/>
                  <a:gd name="connsiteX18" fmla="*/ 62179 w 64008"/>
                  <a:gd name="connsiteY18" fmla="*/ 9876 h 82296"/>
                  <a:gd name="connsiteX19" fmla="*/ 67940 w 64008"/>
                  <a:gd name="connsiteY19" fmla="*/ 21946 h 82296"/>
                  <a:gd name="connsiteX20" fmla="*/ 69860 w 64008"/>
                  <a:gd name="connsiteY20" fmla="*/ 39045 h 82296"/>
                  <a:gd name="connsiteX21" fmla="*/ 69860 w 64008"/>
                  <a:gd name="connsiteY21" fmla="*/ 88971 h 82296"/>
                  <a:gd name="connsiteX22" fmla="*/ 52944 w 64008"/>
                  <a:gd name="connsiteY22" fmla="*/ 88971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82296">
                    <a:moveTo>
                      <a:pt x="52944" y="88971"/>
                    </a:moveTo>
                    <a:lnTo>
                      <a:pt x="52944" y="39685"/>
                    </a:lnTo>
                    <a:cubicBezTo>
                      <a:pt x="52944" y="31821"/>
                      <a:pt x="51572" y="25878"/>
                      <a:pt x="48738" y="21854"/>
                    </a:cubicBezTo>
                    <a:cubicBezTo>
                      <a:pt x="45903" y="17831"/>
                      <a:pt x="41331" y="15819"/>
                      <a:pt x="35022" y="15819"/>
                    </a:cubicBezTo>
                    <a:cubicBezTo>
                      <a:pt x="32278" y="15819"/>
                      <a:pt x="29718" y="16276"/>
                      <a:pt x="27432" y="17282"/>
                    </a:cubicBezTo>
                    <a:cubicBezTo>
                      <a:pt x="25146" y="18288"/>
                      <a:pt x="23134" y="19751"/>
                      <a:pt x="21580" y="21854"/>
                    </a:cubicBezTo>
                    <a:cubicBezTo>
                      <a:pt x="20025" y="23866"/>
                      <a:pt x="18928" y="26335"/>
                      <a:pt x="18196" y="29078"/>
                    </a:cubicBezTo>
                    <a:cubicBezTo>
                      <a:pt x="17465" y="31821"/>
                      <a:pt x="17099" y="34839"/>
                      <a:pt x="17099" y="38039"/>
                    </a:cubicBezTo>
                    <a:lnTo>
                      <a:pt x="17099" y="88971"/>
                    </a:lnTo>
                    <a:lnTo>
                      <a:pt x="0" y="88971"/>
                    </a:lnTo>
                    <a:lnTo>
                      <a:pt x="0" y="1920"/>
                    </a:lnTo>
                    <a:lnTo>
                      <a:pt x="17099" y="1920"/>
                    </a:lnTo>
                    <a:lnTo>
                      <a:pt x="17099" y="10150"/>
                    </a:lnTo>
                    <a:cubicBezTo>
                      <a:pt x="18196" y="8595"/>
                      <a:pt x="19477" y="7132"/>
                      <a:pt x="21031" y="5944"/>
                    </a:cubicBezTo>
                    <a:cubicBezTo>
                      <a:pt x="22586" y="4663"/>
                      <a:pt x="24323" y="3566"/>
                      <a:pt x="26243" y="2743"/>
                    </a:cubicBezTo>
                    <a:cubicBezTo>
                      <a:pt x="28164" y="1920"/>
                      <a:pt x="30175" y="1189"/>
                      <a:pt x="32278" y="732"/>
                    </a:cubicBezTo>
                    <a:cubicBezTo>
                      <a:pt x="34473" y="274"/>
                      <a:pt x="36667" y="0"/>
                      <a:pt x="38953" y="0"/>
                    </a:cubicBezTo>
                    <a:cubicBezTo>
                      <a:pt x="44166" y="0"/>
                      <a:pt x="48738" y="823"/>
                      <a:pt x="52578" y="2560"/>
                    </a:cubicBezTo>
                    <a:cubicBezTo>
                      <a:pt x="56418" y="4298"/>
                      <a:pt x="59619" y="6675"/>
                      <a:pt x="62179" y="9876"/>
                    </a:cubicBezTo>
                    <a:cubicBezTo>
                      <a:pt x="64740" y="13076"/>
                      <a:pt x="66660" y="17099"/>
                      <a:pt x="67940" y="21946"/>
                    </a:cubicBezTo>
                    <a:cubicBezTo>
                      <a:pt x="69220" y="26792"/>
                      <a:pt x="69860" y="32461"/>
                      <a:pt x="69860" y="39045"/>
                    </a:cubicBezTo>
                    <a:lnTo>
                      <a:pt x="69860" y="88971"/>
                    </a:lnTo>
                    <a:lnTo>
                      <a:pt x="52944" y="88971"/>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1" name="Freeform: Shape 60">
                <a:extLst>
                  <a:ext uri="{FF2B5EF4-FFF2-40B4-BE49-F238E27FC236}">
                    <a16:creationId xmlns:a16="http://schemas.microsoft.com/office/drawing/2014/main" id="{282D995F-7615-4C2C-A1A0-C15BF1785394}"/>
                  </a:ext>
                </a:extLst>
              </p:cNvPr>
              <p:cNvSpPr/>
              <p:nvPr/>
            </p:nvSpPr>
            <p:spPr>
              <a:xfrm>
                <a:off x="2348306" y="6130138"/>
                <a:ext cx="18288" cy="18288"/>
              </a:xfrm>
              <a:custGeom>
                <a:avLst/>
                <a:gdLst>
                  <a:gd name="connsiteX0" fmla="*/ 26060 w 18288"/>
                  <a:gd name="connsiteY0" fmla="*/ 13259 h 18288"/>
                  <a:gd name="connsiteX1" fmla="*/ 25054 w 18288"/>
                  <a:gd name="connsiteY1" fmla="*/ 18379 h 18288"/>
                  <a:gd name="connsiteX2" fmla="*/ 22311 w 18288"/>
                  <a:gd name="connsiteY2" fmla="*/ 22586 h 18288"/>
                  <a:gd name="connsiteX3" fmla="*/ 18105 w 18288"/>
                  <a:gd name="connsiteY3" fmla="*/ 25420 h 18288"/>
                  <a:gd name="connsiteX4" fmla="*/ 12984 w 18288"/>
                  <a:gd name="connsiteY4" fmla="*/ 26426 h 18288"/>
                  <a:gd name="connsiteX5" fmla="*/ 7864 w 18288"/>
                  <a:gd name="connsiteY5" fmla="*/ 25420 h 18288"/>
                  <a:gd name="connsiteX6" fmla="*/ 3749 w 18288"/>
                  <a:gd name="connsiteY6" fmla="*/ 22586 h 18288"/>
                  <a:gd name="connsiteX7" fmla="*/ 1006 w 18288"/>
                  <a:gd name="connsiteY7" fmla="*/ 18379 h 18288"/>
                  <a:gd name="connsiteX8" fmla="*/ 0 w 18288"/>
                  <a:gd name="connsiteY8" fmla="*/ 13259 h 18288"/>
                  <a:gd name="connsiteX9" fmla="*/ 1006 w 18288"/>
                  <a:gd name="connsiteY9" fmla="*/ 8138 h 18288"/>
                  <a:gd name="connsiteX10" fmla="*/ 3749 w 18288"/>
                  <a:gd name="connsiteY10" fmla="*/ 3932 h 18288"/>
                  <a:gd name="connsiteX11" fmla="*/ 7864 w 18288"/>
                  <a:gd name="connsiteY11" fmla="*/ 1006 h 18288"/>
                  <a:gd name="connsiteX12" fmla="*/ 12984 w 18288"/>
                  <a:gd name="connsiteY12" fmla="*/ 0 h 18288"/>
                  <a:gd name="connsiteX13" fmla="*/ 18105 w 18288"/>
                  <a:gd name="connsiteY13" fmla="*/ 1006 h 18288"/>
                  <a:gd name="connsiteX14" fmla="*/ 22311 w 18288"/>
                  <a:gd name="connsiteY14" fmla="*/ 3932 h 18288"/>
                  <a:gd name="connsiteX15" fmla="*/ 25054 w 18288"/>
                  <a:gd name="connsiteY15" fmla="*/ 8138 h 18288"/>
                  <a:gd name="connsiteX16" fmla="*/ 26060 w 18288"/>
                  <a:gd name="connsiteY16" fmla="*/ 13259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288" h="18288">
                    <a:moveTo>
                      <a:pt x="26060" y="13259"/>
                    </a:moveTo>
                    <a:cubicBezTo>
                      <a:pt x="26060" y="15088"/>
                      <a:pt x="25695" y="16825"/>
                      <a:pt x="25054" y="18379"/>
                    </a:cubicBezTo>
                    <a:cubicBezTo>
                      <a:pt x="24414" y="19934"/>
                      <a:pt x="23409" y="21397"/>
                      <a:pt x="22311" y="22586"/>
                    </a:cubicBezTo>
                    <a:cubicBezTo>
                      <a:pt x="21123" y="23774"/>
                      <a:pt x="19751" y="24689"/>
                      <a:pt x="18105" y="25420"/>
                    </a:cubicBezTo>
                    <a:cubicBezTo>
                      <a:pt x="16551" y="26060"/>
                      <a:pt x="14813" y="26426"/>
                      <a:pt x="12984" y="26426"/>
                    </a:cubicBezTo>
                    <a:cubicBezTo>
                      <a:pt x="11156" y="26426"/>
                      <a:pt x="9418" y="26060"/>
                      <a:pt x="7864" y="25420"/>
                    </a:cubicBezTo>
                    <a:cubicBezTo>
                      <a:pt x="6218" y="24780"/>
                      <a:pt x="4846" y="23774"/>
                      <a:pt x="3749" y="22586"/>
                    </a:cubicBezTo>
                    <a:cubicBezTo>
                      <a:pt x="2560" y="21397"/>
                      <a:pt x="1646" y="20025"/>
                      <a:pt x="1006" y="18379"/>
                    </a:cubicBezTo>
                    <a:cubicBezTo>
                      <a:pt x="274" y="16825"/>
                      <a:pt x="0" y="15088"/>
                      <a:pt x="0" y="13259"/>
                    </a:cubicBezTo>
                    <a:cubicBezTo>
                      <a:pt x="0" y="11430"/>
                      <a:pt x="366" y="9693"/>
                      <a:pt x="1006" y="8138"/>
                    </a:cubicBezTo>
                    <a:cubicBezTo>
                      <a:pt x="1646" y="6584"/>
                      <a:pt x="2560" y="5121"/>
                      <a:pt x="3749" y="3932"/>
                    </a:cubicBezTo>
                    <a:cubicBezTo>
                      <a:pt x="4938" y="2743"/>
                      <a:pt x="6309" y="1737"/>
                      <a:pt x="7864" y="1006"/>
                    </a:cubicBezTo>
                    <a:cubicBezTo>
                      <a:pt x="9418" y="274"/>
                      <a:pt x="11156" y="0"/>
                      <a:pt x="12984" y="0"/>
                    </a:cubicBezTo>
                    <a:cubicBezTo>
                      <a:pt x="14813" y="0"/>
                      <a:pt x="16551" y="366"/>
                      <a:pt x="18105" y="1006"/>
                    </a:cubicBezTo>
                    <a:cubicBezTo>
                      <a:pt x="19660" y="1737"/>
                      <a:pt x="21123" y="2652"/>
                      <a:pt x="22311" y="3932"/>
                    </a:cubicBezTo>
                    <a:cubicBezTo>
                      <a:pt x="23500" y="5121"/>
                      <a:pt x="24414" y="6584"/>
                      <a:pt x="25054" y="8138"/>
                    </a:cubicBezTo>
                    <a:cubicBezTo>
                      <a:pt x="25695" y="9693"/>
                      <a:pt x="26060" y="11430"/>
                      <a:pt x="26060" y="13259"/>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62" name="Freeform: Shape 61">
              <a:extLst>
                <a:ext uri="{FF2B5EF4-FFF2-40B4-BE49-F238E27FC236}">
                  <a16:creationId xmlns:a16="http://schemas.microsoft.com/office/drawing/2014/main" id="{7A8C41BA-1AEC-48F2-9539-E501793C9572}"/>
                </a:ext>
              </a:extLst>
            </p:cNvPr>
            <p:cNvSpPr/>
            <p:nvPr/>
          </p:nvSpPr>
          <p:spPr>
            <a:xfrm>
              <a:off x="2432888" y="6038515"/>
              <a:ext cx="82296" cy="109728"/>
            </a:xfrm>
            <a:custGeom>
              <a:avLst/>
              <a:gdLst>
                <a:gd name="connsiteX0" fmla="*/ 51298 w 82296"/>
                <a:gd name="connsiteY0" fmla="*/ 17008 h 109728"/>
                <a:gd name="connsiteX1" fmla="*/ 51298 w 82296"/>
                <a:gd name="connsiteY1" fmla="*/ 116129 h 109728"/>
                <a:gd name="connsiteX2" fmla="*/ 33833 w 82296"/>
                <a:gd name="connsiteY2" fmla="*/ 116129 h 109728"/>
                <a:gd name="connsiteX3" fmla="*/ 33833 w 82296"/>
                <a:gd name="connsiteY3" fmla="*/ 17008 h 109728"/>
                <a:gd name="connsiteX4" fmla="*/ 0 w 82296"/>
                <a:gd name="connsiteY4" fmla="*/ 17008 h 109728"/>
                <a:gd name="connsiteX5" fmla="*/ 0 w 82296"/>
                <a:gd name="connsiteY5" fmla="*/ 0 h 109728"/>
                <a:gd name="connsiteX6" fmla="*/ 85131 w 82296"/>
                <a:gd name="connsiteY6" fmla="*/ 0 h 109728"/>
                <a:gd name="connsiteX7" fmla="*/ 85131 w 82296"/>
                <a:gd name="connsiteY7" fmla="*/ 17008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296" h="109728">
                  <a:moveTo>
                    <a:pt x="51298" y="17008"/>
                  </a:moveTo>
                  <a:lnTo>
                    <a:pt x="51298" y="116129"/>
                  </a:lnTo>
                  <a:lnTo>
                    <a:pt x="33833" y="116129"/>
                  </a:lnTo>
                  <a:lnTo>
                    <a:pt x="33833" y="17008"/>
                  </a:lnTo>
                  <a:lnTo>
                    <a:pt x="0" y="17008"/>
                  </a:lnTo>
                  <a:lnTo>
                    <a:pt x="0" y="0"/>
                  </a:lnTo>
                  <a:lnTo>
                    <a:pt x="85131" y="0"/>
                  </a:lnTo>
                  <a:lnTo>
                    <a:pt x="85131" y="17008"/>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63" name="Graphic 2">
              <a:extLst>
                <a:ext uri="{FF2B5EF4-FFF2-40B4-BE49-F238E27FC236}">
                  <a16:creationId xmlns:a16="http://schemas.microsoft.com/office/drawing/2014/main" id="{69916B0C-9B62-4073-A26B-3F4B3A5DFA66}"/>
                </a:ext>
              </a:extLst>
            </p:cNvPr>
            <p:cNvGrpSpPr/>
            <p:nvPr/>
          </p:nvGrpSpPr>
          <p:grpSpPr>
            <a:xfrm>
              <a:off x="2532558" y="6033668"/>
              <a:ext cx="1234440" cy="118872"/>
              <a:chOff x="2532558" y="6033668"/>
              <a:chExt cx="1234440" cy="118872"/>
            </a:xfrm>
            <a:solidFill>
              <a:srgbClr val="FFFFFF"/>
            </a:solidFill>
          </p:grpSpPr>
          <p:sp>
            <p:nvSpPr>
              <p:cNvPr id="320" name="Freeform: Shape 319">
                <a:extLst>
                  <a:ext uri="{FF2B5EF4-FFF2-40B4-BE49-F238E27FC236}">
                    <a16:creationId xmlns:a16="http://schemas.microsoft.com/office/drawing/2014/main" id="{3EB62CDF-B750-4C29-B78D-77261D5E568D}"/>
                  </a:ext>
                </a:extLst>
              </p:cNvPr>
              <p:cNvSpPr/>
              <p:nvPr/>
            </p:nvSpPr>
            <p:spPr>
              <a:xfrm>
                <a:off x="2532558" y="6033760"/>
                <a:ext cx="64008" cy="118872"/>
              </a:xfrm>
              <a:custGeom>
                <a:avLst/>
                <a:gdLst>
                  <a:gd name="connsiteX0" fmla="*/ 52944 w 64008"/>
                  <a:gd name="connsiteY0" fmla="*/ 120884 h 118872"/>
                  <a:gd name="connsiteX1" fmla="*/ 52944 w 64008"/>
                  <a:gd name="connsiteY1" fmla="*/ 71598 h 118872"/>
                  <a:gd name="connsiteX2" fmla="*/ 48646 w 64008"/>
                  <a:gd name="connsiteY2" fmla="*/ 53584 h 118872"/>
                  <a:gd name="connsiteX3" fmla="*/ 35022 w 64008"/>
                  <a:gd name="connsiteY3" fmla="*/ 47640 h 118872"/>
                  <a:gd name="connsiteX4" fmla="*/ 27706 w 64008"/>
                  <a:gd name="connsiteY4" fmla="*/ 48920 h 118872"/>
                  <a:gd name="connsiteX5" fmla="*/ 21946 w 64008"/>
                  <a:gd name="connsiteY5" fmla="*/ 53218 h 118872"/>
                  <a:gd name="connsiteX6" fmla="*/ 18288 w 64008"/>
                  <a:gd name="connsiteY6" fmla="*/ 60259 h 118872"/>
                  <a:gd name="connsiteX7" fmla="*/ 17099 w 64008"/>
                  <a:gd name="connsiteY7" fmla="*/ 69860 h 118872"/>
                  <a:gd name="connsiteX8" fmla="*/ 17099 w 64008"/>
                  <a:gd name="connsiteY8" fmla="*/ 120792 h 118872"/>
                  <a:gd name="connsiteX9" fmla="*/ 0 w 64008"/>
                  <a:gd name="connsiteY9" fmla="*/ 120792 h 118872"/>
                  <a:gd name="connsiteX10" fmla="*/ 0 w 64008"/>
                  <a:gd name="connsiteY10" fmla="*/ 8961 h 118872"/>
                  <a:gd name="connsiteX11" fmla="*/ 17099 w 64008"/>
                  <a:gd name="connsiteY11" fmla="*/ 0 h 118872"/>
                  <a:gd name="connsiteX12" fmla="*/ 17099 w 64008"/>
                  <a:gd name="connsiteY12" fmla="*/ 42154 h 118872"/>
                  <a:gd name="connsiteX13" fmla="*/ 21031 w 64008"/>
                  <a:gd name="connsiteY13" fmla="*/ 37948 h 118872"/>
                  <a:gd name="connsiteX14" fmla="*/ 26243 w 64008"/>
                  <a:gd name="connsiteY14" fmla="*/ 34747 h 118872"/>
                  <a:gd name="connsiteX15" fmla="*/ 32278 w 64008"/>
                  <a:gd name="connsiteY15" fmla="*/ 32736 h 118872"/>
                  <a:gd name="connsiteX16" fmla="*/ 38954 w 64008"/>
                  <a:gd name="connsiteY16" fmla="*/ 32004 h 118872"/>
                  <a:gd name="connsiteX17" fmla="*/ 52578 w 64008"/>
                  <a:gd name="connsiteY17" fmla="*/ 34473 h 118872"/>
                  <a:gd name="connsiteX18" fmla="*/ 62271 w 64008"/>
                  <a:gd name="connsiteY18" fmla="*/ 41880 h 118872"/>
                  <a:gd name="connsiteX19" fmla="*/ 68123 w 64008"/>
                  <a:gd name="connsiteY19" fmla="*/ 54315 h 118872"/>
                  <a:gd name="connsiteX20" fmla="*/ 70043 w 64008"/>
                  <a:gd name="connsiteY20" fmla="*/ 70957 h 118872"/>
                  <a:gd name="connsiteX21" fmla="*/ 70043 w 64008"/>
                  <a:gd name="connsiteY21" fmla="*/ 120884 h 118872"/>
                  <a:gd name="connsiteX22" fmla="*/ 52944 w 64008"/>
                  <a:gd name="connsiteY22" fmla="*/ 120884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118872">
                    <a:moveTo>
                      <a:pt x="52944" y="120884"/>
                    </a:moveTo>
                    <a:lnTo>
                      <a:pt x="52944" y="71598"/>
                    </a:lnTo>
                    <a:cubicBezTo>
                      <a:pt x="52944" y="63551"/>
                      <a:pt x="51481" y="57516"/>
                      <a:pt x="48646" y="53584"/>
                    </a:cubicBezTo>
                    <a:cubicBezTo>
                      <a:pt x="45812" y="49652"/>
                      <a:pt x="41240" y="47640"/>
                      <a:pt x="35022" y="47640"/>
                    </a:cubicBezTo>
                    <a:cubicBezTo>
                      <a:pt x="32370" y="47640"/>
                      <a:pt x="29901" y="48097"/>
                      <a:pt x="27706" y="48920"/>
                    </a:cubicBezTo>
                    <a:cubicBezTo>
                      <a:pt x="25420" y="49743"/>
                      <a:pt x="23500" y="51206"/>
                      <a:pt x="21946" y="53218"/>
                    </a:cubicBezTo>
                    <a:cubicBezTo>
                      <a:pt x="20300" y="55230"/>
                      <a:pt x="19202" y="57607"/>
                      <a:pt x="18288" y="60259"/>
                    </a:cubicBezTo>
                    <a:cubicBezTo>
                      <a:pt x="17465" y="63002"/>
                      <a:pt x="17099" y="66111"/>
                      <a:pt x="17099" y="69860"/>
                    </a:cubicBezTo>
                    <a:lnTo>
                      <a:pt x="17099" y="120792"/>
                    </a:lnTo>
                    <a:lnTo>
                      <a:pt x="0" y="120792"/>
                    </a:lnTo>
                    <a:lnTo>
                      <a:pt x="0" y="8961"/>
                    </a:lnTo>
                    <a:lnTo>
                      <a:pt x="17099" y="0"/>
                    </a:lnTo>
                    <a:lnTo>
                      <a:pt x="17099" y="42154"/>
                    </a:lnTo>
                    <a:cubicBezTo>
                      <a:pt x="18197" y="40599"/>
                      <a:pt x="19477" y="39136"/>
                      <a:pt x="21031" y="37948"/>
                    </a:cubicBezTo>
                    <a:cubicBezTo>
                      <a:pt x="22586" y="36667"/>
                      <a:pt x="24323" y="35570"/>
                      <a:pt x="26243" y="34747"/>
                    </a:cubicBezTo>
                    <a:cubicBezTo>
                      <a:pt x="28164" y="33924"/>
                      <a:pt x="30175" y="33193"/>
                      <a:pt x="32278" y="32736"/>
                    </a:cubicBezTo>
                    <a:cubicBezTo>
                      <a:pt x="34473" y="32278"/>
                      <a:pt x="36668" y="32004"/>
                      <a:pt x="38954" y="32004"/>
                    </a:cubicBezTo>
                    <a:cubicBezTo>
                      <a:pt x="44166" y="32004"/>
                      <a:pt x="48738" y="32827"/>
                      <a:pt x="52578" y="34473"/>
                    </a:cubicBezTo>
                    <a:cubicBezTo>
                      <a:pt x="56418" y="36119"/>
                      <a:pt x="59619" y="38588"/>
                      <a:pt x="62271" y="41880"/>
                    </a:cubicBezTo>
                    <a:cubicBezTo>
                      <a:pt x="64922" y="45171"/>
                      <a:pt x="66843" y="49286"/>
                      <a:pt x="68123" y="54315"/>
                    </a:cubicBezTo>
                    <a:cubicBezTo>
                      <a:pt x="69403" y="59345"/>
                      <a:pt x="70043" y="64922"/>
                      <a:pt x="70043" y="70957"/>
                    </a:cubicBezTo>
                    <a:lnTo>
                      <a:pt x="70043" y="120884"/>
                    </a:lnTo>
                    <a:lnTo>
                      <a:pt x="52944" y="12088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1" name="Freeform: Shape 320">
                <a:extLst>
                  <a:ext uri="{FF2B5EF4-FFF2-40B4-BE49-F238E27FC236}">
                    <a16:creationId xmlns:a16="http://schemas.microsoft.com/office/drawing/2014/main" id="{B9AFEAD8-CEC5-4DAD-AD77-D86353162DD0}"/>
                  </a:ext>
                </a:extLst>
              </p:cNvPr>
              <p:cNvSpPr/>
              <p:nvPr/>
            </p:nvSpPr>
            <p:spPr>
              <a:xfrm>
                <a:off x="2619609" y="6065581"/>
                <a:ext cx="73152" cy="82296"/>
              </a:xfrm>
              <a:custGeom>
                <a:avLst/>
                <a:gdLst>
                  <a:gd name="connsiteX0" fmla="*/ 57607 w 73152"/>
                  <a:gd name="connsiteY0" fmla="*/ 37490 h 82296"/>
                  <a:gd name="connsiteX1" fmla="*/ 56053 w 73152"/>
                  <a:gd name="connsiteY1" fmla="*/ 29078 h 82296"/>
                  <a:gd name="connsiteX2" fmla="*/ 52304 w 73152"/>
                  <a:gd name="connsiteY2" fmla="*/ 22128 h 82296"/>
                  <a:gd name="connsiteX3" fmla="*/ 46086 w 73152"/>
                  <a:gd name="connsiteY3" fmla="*/ 17374 h 82296"/>
                  <a:gd name="connsiteX4" fmla="*/ 37033 w 73152"/>
                  <a:gd name="connsiteY4" fmla="*/ 15636 h 82296"/>
                  <a:gd name="connsiteX5" fmla="*/ 29078 w 73152"/>
                  <a:gd name="connsiteY5" fmla="*/ 17099 h 82296"/>
                  <a:gd name="connsiteX6" fmla="*/ 23226 w 73152"/>
                  <a:gd name="connsiteY6" fmla="*/ 21397 h 82296"/>
                  <a:gd name="connsiteX7" fmla="*/ 19202 w 73152"/>
                  <a:gd name="connsiteY7" fmla="*/ 28164 h 82296"/>
                  <a:gd name="connsiteX8" fmla="*/ 17008 w 73152"/>
                  <a:gd name="connsiteY8" fmla="*/ 37490 h 82296"/>
                  <a:gd name="connsiteX9" fmla="*/ 57607 w 73152"/>
                  <a:gd name="connsiteY9" fmla="*/ 37490 h 82296"/>
                  <a:gd name="connsiteX10" fmla="*/ 74798 w 73152"/>
                  <a:gd name="connsiteY10" fmla="*/ 43800 h 82296"/>
                  <a:gd name="connsiteX11" fmla="*/ 74615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8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98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490"/>
                    </a:moveTo>
                    <a:cubicBezTo>
                      <a:pt x="57333" y="34564"/>
                      <a:pt x="56876" y="31730"/>
                      <a:pt x="56053" y="29078"/>
                    </a:cubicBezTo>
                    <a:cubicBezTo>
                      <a:pt x="55230" y="26426"/>
                      <a:pt x="53950" y="24140"/>
                      <a:pt x="52304" y="22128"/>
                    </a:cubicBezTo>
                    <a:cubicBezTo>
                      <a:pt x="50658" y="20117"/>
                      <a:pt x="48555" y="18562"/>
                      <a:pt x="46086" y="17374"/>
                    </a:cubicBezTo>
                    <a:cubicBezTo>
                      <a:pt x="43525" y="16185"/>
                      <a:pt x="40599" y="15636"/>
                      <a:pt x="37033" y="15636"/>
                    </a:cubicBezTo>
                    <a:cubicBezTo>
                      <a:pt x="34016" y="15636"/>
                      <a:pt x="31364" y="16093"/>
                      <a:pt x="29078" y="17099"/>
                    </a:cubicBezTo>
                    <a:cubicBezTo>
                      <a:pt x="26792" y="18105"/>
                      <a:pt x="24872" y="19477"/>
                      <a:pt x="23226" y="21397"/>
                    </a:cubicBezTo>
                    <a:cubicBezTo>
                      <a:pt x="21580" y="23226"/>
                      <a:pt x="20300" y="25512"/>
                      <a:pt x="19202" y="28164"/>
                    </a:cubicBezTo>
                    <a:cubicBezTo>
                      <a:pt x="18105" y="30815"/>
                      <a:pt x="17465" y="33924"/>
                      <a:pt x="17008" y="37490"/>
                    </a:cubicBezTo>
                    <a:lnTo>
                      <a:pt x="57607" y="37490"/>
                    </a:lnTo>
                    <a:close/>
                    <a:moveTo>
                      <a:pt x="74798" y="43800"/>
                    </a:moveTo>
                    <a:cubicBezTo>
                      <a:pt x="74798" y="45354"/>
                      <a:pt x="74706" y="46817"/>
                      <a:pt x="74615" y="48189"/>
                    </a:cubicBezTo>
                    <a:cubicBezTo>
                      <a:pt x="74524" y="49560"/>
                      <a:pt x="74432" y="50658"/>
                      <a:pt x="74249" y="51572"/>
                    </a:cubicBezTo>
                    <a:lnTo>
                      <a:pt x="16642" y="51572"/>
                    </a:lnTo>
                    <a:cubicBezTo>
                      <a:pt x="17099"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8" y="73518"/>
                    </a:cubicBezTo>
                    <a:cubicBezTo>
                      <a:pt x="50292" y="72878"/>
                      <a:pt x="51664" y="72238"/>
                      <a:pt x="52852" y="71506"/>
                    </a:cubicBezTo>
                    <a:cubicBezTo>
                      <a:pt x="54041" y="70866"/>
                      <a:pt x="55596" y="69769"/>
                      <a:pt x="57516" y="68489"/>
                    </a:cubicBezTo>
                    <a:lnTo>
                      <a:pt x="67666" y="79370"/>
                    </a:lnTo>
                    <a:cubicBezTo>
                      <a:pt x="65471" y="81382"/>
                      <a:pt x="63459" y="83119"/>
                      <a:pt x="61448" y="84308"/>
                    </a:cubicBezTo>
                    <a:cubicBezTo>
                      <a:pt x="59527"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469" y="63642"/>
                      <a:pt x="1463" y="59345"/>
                    </a:cubicBezTo>
                    <a:cubicBezTo>
                      <a:pt x="457" y="55138"/>
                      <a:pt x="0" y="50475"/>
                      <a:pt x="0" y="45446"/>
                    </a:cubicBezTo>
                    <a:cubicBezTo>
                      <a:pt x="0" y="38130"/>
                      <a:pt x="914" y="31547"/>
                      <a:pt x="2835" y="25878"/>
                    </a:cubicBezTo>
                    <a:cubicBezTo>
                      <a:pt x="4663" y="20208"/>
                      <a:pt x="7315" y="15453"/>
                      <a:pt x="10698" y="11613"/>
                    </a:cubicBezTo>
                    <a:cubicBezTo>
                      <a:pt x="14082" y="7772"/>
                      <a:pt x="18014"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4066" y="32278"/>
                      <a:pt x="74798" y="37856"/>
                      <a:pt x="74798"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2" name="Freeform: Shape 321">
                <a:extLst>
                  <a:ext uri="{FF2B5EF4-FFF2-40B4-BE49-F238E27FC236}">
                    <a16:creationId xmlns:a16="http://schemas.microsoft.com/office/drawing/2014/main" id="{840D35C6-5EED-47FD-8DFF-11CC9E4E9C22}"/>
                  </a:ext>
                </a:extLst>
              </p:cNvPr>
              <p:cNvSpPr/>
              <p:nvPr/>
            </p:nvSpPr>
            <p:spPr>
              <a:xfrm>
                <a:off x="2753843" y="6033668"/>
                <a:ext cx="73152" cy="118872"/>
              </a:xfrm>
              <a:custGeom>
                <a:avLst/>
                <a:gdLst>
                  <a:gd name="connsiteX0" fmla="*/ 56053 w 73152"/>
                  <a:gd name="connsiteY0" fmla="*/ 79370 h 118872"/>
                  <a:gd name="connsiteX1" fmla="*/ 51024 w 73152"/>
                  <a:gd name="connsiteY1" fmla="*/ 55413 h 118872"/>
                  <a:gd name="connsiteX2" fmla="*/ 36485 w 73152"/>
                  <a:gd name="connsiteY2" fmla="*/ 47823 h 118872"/>
                  <a:gd name="connsiteX3" fmla="*/ 30632 w 73152"/>
                  <a:gd name="connsiteY3" fmla="*/ 48738 h 118872"/>
                  <a:gd name="connsiteX4" fmla="*/ 25329 w 73152"/>
                  <a:gd name="connsiteY4" fmla="*/ 51206 h 118872"/>
                  <a:gd name="connsiteX5" fmla="*/ 20666 w 73152"/>
                  <a:gd name="connsiteY5" fmla="*/ 54773 h 118872"/>
                  <a:gd name="connsiteX6" fmla="*/ 16825 w 73152"/>
                  <a:gd name="connsiteY6" fmla="*/ 58887 h 118872"/>
                  <a:gd name="connsiteX7" fmla="*/ 16825 w 73152"/>
                  <a:gd name="connsiteY7" fmla="*/ 95555 h 118872"/>
                  <a:gd name="connsiteX8" fmla="*/ 20391 w 73152"/>
                  <a:gd name="connsiteY8" fmla="*/ 99487 h 118872"/>
                  <a:gd name="connsiteX9" fmla="*/ 25238 w 73152"/>
                  <a:gd name="connsiteY9" fmla="*/ 103144 h 118872"/>
                  <a:gd name="connsiteX10" fmla="*/ 30907 w 73152"/>
                  <a:gd name="connsiteY10" fmla="*/ 105888 h 118872"/>
                  <a:gd name="connsiteX11" fmla="*/ 37216 w 73152"/>
                  <a:gd name="connsiteY11" fmla="*/ 106893 h 118872"/>
                  <a:gd name="connsiteX12" fmla="*/ 51389 w 73152"/>
                  <a:gd name="connsiteY12" fmla="*/ 99944 h 118872"/>
                  <a:gd name="connsiteX13" fmla="*/ 56053 w 73152"/>
                  <a:gd name="connsiteY13" fmla="*/ 79370 h 118872"/>
                  <a:gd name="connsiteX14" fmla="*/ 73152 w 73152"/>
                  <a:gd name="connsiteY14" fmla="*/ 78821 h 118872"/>
                  <a:gd name="connsiteX15" fmla="*/ 70317 w 73152"/>
                  <a:gd name="connsiteY15" fmla="*/ 98298 h 118872"/>
                  <a:gd name="connsiteX16" fmla="*/ 62728 w 73152"/>
                  <a:gd name="connsiteY16" fmla="*/ 112014 h 118872"/>
                  <a:gd name="connsiteX17" fmla="*/ 51755 w 73152"/>
                  <a:gd name="connsiteY17" fmla="*/ 120152 h 118872"/>
                  <a:gd name="connsiteX18" fmla="*/ 38771 w 73152"/>
                  <a:gd name="connsiteY18" fmla="*/ 122804 h 118872"/>
                  <a:gd name="connsiteX19" fmla="*/ 26518 w 73152"/>
                  <a:gd name="connsiteY19" fmla="*/ 119878 h 118872"/>
                  <a:gd name="connsiteX20" fmla="*/ 16916 w 73152"/>
                  <a:gd name="connsiteY20" fmla="*/ 112837 h 118872"/>
                  <a:gd name="connsiteX21" fmla="*/ 16916 w 73152"/>
                  <a:gd name="connsiteY21" fmla="*/ 120975 h 118872"/>
                  <a:gd name="connsiteX22" fmla="*/ 0 w 73152"/>
                  <a:gd name="connsiteY22" fmla="*/ 120975 h 118872"/>
                  <a:gd name="connsiteX23" fmla="*/ 0 w 73152"/>
                  <a:gd name="connsiteY23" fmla="*/ 8870 h 118872"/>
                  <a:gd name="connsiteX24" fmla="*/ 16916 w 73152"/>
                  <a:gd name="connsiteY24" fmla="*/ 0 h 118872"/>
                  <a:gd name="connsiteX25" fmla="*/ 16916 w 73152"/>
                  <a:gd name="connsiteY25" fmla="*/ 42154 h 118872"/>
                  <a:gd name="connsiteX26" fmla="*/ 21763 w 73152"/>
                  <a:gd name="connsiteY26" fmla="*/ 38222 h 118872"/>
                  <a:gd name="connsiteX27" fmla="*/ 26335 w 73152"/>
                  <a:gd name="connsiteY27" fmla="*/ 35296 h 118872"/>
                  <a:gd name="connsiteX28" fmla="*/ 32004 w 73152"/>
                  <a:gd name="connsiteY28" fmla="*/ 33010 h 118872"/>
                  <a:gd name="connsiteX29" fmla="*/ 39502 w 73152"/>
                  <a:gd name="connsiteY29" fmla="*/ 32095 h 118872"/>
                  <a:gd name="connsiteX30" fmla="*/ 52670 w 73152"/>
                  <a:gd name="connsiteY30" fmla="*/ 34747 h 118872"/>
                  <a:gd name="connsiteX31" fmla="*/ 63277 w 73152"/>
                  <a:gd name="connsiteY31" fmla="*/ 43068 h 118872"/>
                  <a:gd name="connsiteX32" fmla="*/ 70409 w 73152"/>
                  <a:gd name="connsiteY32" fmla="*/ 57607 h 118872"/>
                  <a:gd name="connsiteX33" fmla="*/ 73152 w 73152"/>
                  <a:gd name="connsiteY33" fmla="*/ 78821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152" h="118872">
                    <a:moveTo>
                      <a:pt x="56053" y="79370"/>
                    </a:moveTo>
                    <a:cubicBezTo>
                      <a:pt x="56053" y="68489"/>
                      <a:pt x="54407" y="60442"/>
                      <a:pt x="51024" y="55413"/>
                    </a:cubicBezTo>
                    <a:cubicBezTo>
                      <a:pt x="47640" y="50383"/>
                      <a:pt x="42794" y="47823"/>
                      <a:pt x="36485" y="47823"/>
                    </a:cubicBezTo>
                    <a:cubicBezTo>
                      <a:pt x="34473" y="47823"/>
                      <a:pt x="32461" y="48097"/>
                      <a:pt x="30632" y="48738"/>
                    </a:cubicBezTo>
                    <a:cubicBezTo>
                      <a:pt x="28804" y="49378"/>
                      <a:pt x="26975" y="50201"/>
                      <a:pt x="25329" y="51206"/>
                    </a:cubicBezTo>
                    <a:cubicBezTo>
                      <a:pt x="23592" y="52212"/>
                      <a:pt x="22037" y="53401"/>
                      <a:pt x="20666" y="54773"/>
                    </a:cubicBezTo>
                    <a:cubicBezTo>
                      <a:pt x="19202" y="56144"/>
                      <a:pt x="17922" y="57516"/>
                      <a:pt x="16825" y="58887"/>
                    </a:cubicBezTo>
                    <a:lnTo>
                      <a:pt x="16825" y="95555"/>
                    </a:lnTo>
                    <a:cubicBezTo>
                      <a:pt x="17831" y="96835"/>
                      <a:pt x="19020" y="98207"/>
                      <a:pt x="20391" y="99487"/>
                    </a:cubicBezTo>
                    <a:cubicBezTo>
                      <a:pt x="21854" y="100858"/>
                      <a:pt x="23409" y="102047"/>
                      <a:pt x="25238" y="103144"/>
                    </a:cubicBezTo>
                    <a:cubicBezTo>
                      <a:pt x="27066" y="104242"/>
                      <a:pt x="28895" y="105156"/>
                      <a:pt x="30907" y="105888"/>
                    </a:cubicBezTo>
                    <a:cubicBezTo>
                      <a:pt x="32918" y="106619"/>
                      <a:pt x="35022" y="106893"/>
                      <a:pt x="37216" y="106893"/>
                    </a:cubicBezTo>
                    <a:cubicBezTo>
                      <a:pt x="43434" y="106893"/>
                      <a:pt x="48098" y="104607"/>
                      <a:pt x="51389" y="99944"/>
                    </a:cubicBezTo>
                    <a:cubicBezTo>
                      <a:pt x="54498" y="95463"/>
                      <a:pt x="56053" y="88514"/>
                      <a:pt x="56053" y="79370"/>
                    </a:cubicBezTo>
                    <a:moveTo>
                      <a:pt x="73152" y="78821"/>
                    </a:moveTo>
                    <a:cubicBezTo>
                      <a:pt x="73152" y="86228"/>
                      <a:pt x="72238" y="92720"/>
                      <a:pt x="70317" y="98298"/>
                    </a:cubicBezTo>
                    <a:cubicBezTo>
                      <a:pt x="68397" y="103784"/>
                      <a:pt x="65928" y="108356"/>
                      <a:pt x="62728" y="112014"/>
                    </a:cubicBezTo>
                    <a:cubicBezTo>
                      <a:pt x="59528" y="115672"/>
                      <a:pt x="55961" y="118323"/>
                      <a:pt x="51755" y="120152"/>
                    </a:cubicBezTo>
                    <a:cubicBezTo>
                      <a:pt x="47640" y="121890"/>
                      <a:pt x="43343" y="122804"/>
                      <a:pt x="38771" y="122804"/>
                    </a:cubicBezTo>
                    <a:cubicBezTo>
                      <a:pt x="34564" y="122804"/>
                      <a:pt x="30450" y="121798"/>
                      <a:pt x="26518" y="119878"/>
                    </a:cubicBezTo>
                    <a:cubicBezTo>
                      <a:pt x="22586" y="117958"/>
                      <a:pt x="19385" y="115580"/>
                      <a:pt x="16916" y="112837"/>
                    </a:cubicBezTo>
                    <a:lnTo>
                      <a:pt x="16916" y="120975"/>
                    </a:lnTo>
                    <a:lnTo>
                      <a:pt x="0" y="120975"/>
                    </a:lnTo>
                    <a:lnTo>
                      <a:pt x="0" y="8870"/>
                    </a:lnTo>
                    <a:lnTo>
                      <a:pt x="16916" y="0"/>
                    </a:lnTo>
                    <a:lnTo>
                      <a:pt x="16916" y="42154"/>
                    </a:lnTo>
                    <a:cubicBezTo>
                      <a:pt x="18654" y="40508"/>
                      <a:pt x="20300" y="39228"/>
                      <a:pt x="21763" y="38222"/>
                    </a:cubicBezTo>
                    <a:cubicBezTo>
                      <a:pt x="23226" y="37216"/>
                      <a:pt x="24780" y="36210"/>
                      <a:pt x="26335" y="35296"/>
                    </a:cubicBezTo>
                    <a:cubicBezTo>
                      <a:pt x="27981" y="34381"/>
                      <a:pt x="29810" y="33650"/>
                      <a:pt x="32004" y="33010"/>
                    </a:cubicBezTo>
                    <a:cubicBezTo>
                      <a:pt x="34199" y="32370"/>
                      <a:pt x="36668" y="32095"/>
                      <a:pt x="39502" y="32095"/>
                    </a:cubicBezTo>
                    <a:cubicBezTo>
                      <a:pt x="44166" y="32095"/>
                      <a:pt x="48555" y="33010"/>
                      <a:pt x="52670" y="34747"/>
                    </a:cubicBezTo>
                    <a:cubicBezTo>
                      <a:pt x="56693" y="36485"/>
                      <a:pt x="60259" y="39228"/>
                      <a:pt x="63277" y="43068"/>
                    </a:cubicBezTo>
                    <a:cubicBezTo>
                      <a:pt x="66294" y="46817"/>
                      <a:pt x="68672" y="51664"/>
                      <a:pt x="70409" y="57607"/>
                    </a:cubicBezTo>
                    <a:cubicBezTo>
                      <a:pt x="72329" y="63368"/>
                      <a:pt x="73152" y="70500"/>
                      <a:pt x="73152" y="78821"/>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3" name="Freeform: Shape 322">
                <a:extLst>
                  <a:ext uri="{FF2B5EF4-FFF2-40B4-BE49-F238E27FC236}">
                    <a16:creationId xmlns:a16="http://schemas.microsoft.com/office/drawing/2014/main" id="{9F5501F1-A1C6-465A-A854-A6B7788064E1}"/>
                  </a:ext>
                </a:extLst>
              </p:cNvPr>
              <p:cNvSpPr/>
              <p:nvPr/>
            </p:nvSpPr>
            <p:spPr>
              <a:xfrm>
                <a:off x="2840893" y="6065581"/>
                <a:ext cx="73152" cy="82296"/>
              </a:xfrm>
              <a:custGeom>
                <a:avLst/>
                <a:gdLst>
                  <a:gd name="connsiteX0" fmla="*/ 57607 w 73152"/>
                  <a:gd name="connsiteY0" fmla="*/ 37490 h 82296"/>
                  <a:gd name="connsiteX1" fmla="*/ 56053 w 73152"/>
                  <a:gd name="connsiteY1" fmla="*/ 29078 h 82296"/>
                  <a:gd name="connsiteX2" fmla="*/ 52304 w 73152"/>
                  <a:gd name="connsiteY2" fmla="*/ 22128 h 82296"/>
                  <a:gd name="connsiteX3" fmla="*/ 46086 w 73152"/>
                  <a:gd name="connsiteY3" fmla="*/ 17374 h 82296"/>
                  <a:gd name="connsiteX4" fmla="*/ 37033 w 73152"/>
                  <a:gd name="connsiteY4" fmla="*/ 15636 h 82296"/>
                  <a:gd name="connsiteX5" fmla="*/ 29078 w 73152"/>
                  <a:gd name="connsiteY5" fmla="*/ 17099 h 82296"/>
                  <a:gd name="connsiteX6" fmla="*/ 23226 w 73152"/>
                  <a:gd name="connsiteY6" fmla="*/ 21397 h 82296"/>
                  <a:gd name="connsiteX7" fmla="*/ 19202 w 73152"/>
                  <a:gd name="connsiteY7" fmla="*/ 28164 h 82296"/>
                  <a:gd name="connsiteX8" fmla="*/ 17008 w 73152"/>
                  <a:gd name="connsiteY8" fmla="*/ 37490 h 82296"/>
                  <a:gd name="connsiteX9" fmla="*/ 57607 w 73152"/>
                  <a:gd name="connsiteY9" fmla="*/ 37490 h 82296"/>
                  <a:gd name="connsiteX10" fmla="*/ 74798 w 73152"/>
                  <a:gd name="connsiteY10" fmla="*/ 43800 h 82296"/>
                  <a:gd name="connsiteX11" fmla="*/ 74615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8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98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490"/>
                    </a:moveTo>
                    <a:cubicBezTo>
                      <a:pt x="57333" y="34564"/>
                      <a:pt x="56876" y="31730"/>
                      <a:pt x="56053" y="29078"/>
                    </a:cubicBezTo>
                    <a:cubicBezTo>
                      <a:pt x="55230" y="26426"/>
                      <a:pt x="53950" y="24140"/>
                      <a:pt x="52304" y="22128"/>
                    </a:cubicBezTo>
                    <a:cubicBezTo>
                      <a:pt x="50658" y="20117"/>
                      <a:pt x="48555" y="18562"/>
                      <a:pt x="46086" y="17374"/>
                    </a:cubicBezTo>
                    <a:cubicBezTo>
                      <a:pt x="43525" y="16185"/>
                      <a:pt x="40599" y="15636"/>
                      <a:pt x="37033" y="15636"/>
                    </a:cubicBezTo>
                    <a:cubicBezTo>
                      <a:pt x="34016" y="15636"/>
                      <a:pt x="31364" y="16093"/>
                      <a:pt x="29078" y="17099"/>
                    </a:cubicBezTo>
                    <a:cubicBezTo>
                      <a:pt x="26792" y="18105"/>
                      <a:pt x="24872" y="19477"/>
                      <a:pt x="23226" y="21397"/>
                    </a:cubicBezTo>
                    <a:cubicBezTo>
                      <a:pt x="21580" y="23226"/>
                      <a:pt x="20300" y="25512"/>
                      <a:pt x="19202" y="28164"/>
                    </a:cubicBezTo>
                    <a:cubicBezTo>
                      <a:pt x="18105" y="30815"/>
                      <a:pt x="17465" y="33924"/>
                      <a:pt x="17008" y="37490"/>
                    </a:cubicBezTo>
                    <a:lnTo>
                      <a:pt x="57607" y="37490"/>
                    </a:lnTo>
                    <a:close/>
                    <a:moveTo>
                      <a:pt x="74798" y="43800"/>
                    </a:moveTo>
                    <a:cubicBezTo>
                      <a:pt x="74798" y="45354"/>
                      <a:pt x="74706" y="46817"/>
                      <a:pt x="74615" y="48189"/>
                    </a:cubicBezTo>
                    <a:cubicBezTo>
                      <a:pt x="74524" y="49560"/>
                      <a:pt x="74432" y="50658"/>
                      <a:pt x="74249" y="51572"/>
                    </a:cubicBezTo>
                    <a:lnTo>
                      <a:pt x="16642" y="51572"/>
                    </a:lnTo>
                    <a:cubicBezTo>
                      <a:pt x="17099"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8" y="73518"/>
                    </a:cubicBezTo>
                    <a:cubicBezTo>
                      <a:pt x="50292" y="72878"/>
                      <a:pt x="51664" y="72238"/>
                      <a:pt x="52852" y="71506"/>
                    </a:cubicBezTo>
                    <a:cubicBezTo>
                      <a:pt x="54041" y="70866"/>
                      <a:pt x="55596" y="69769"/>
                      <a:pt x="57516" y="68489"/>
                    </a:cubicBezTo>
                    <a:lnTo>
                      <a:pt x="67666" y="79370"/>
                    </a:lnTo>
                    <a:cubicBezTo>
                      <a:pt x="65471" y="81382"/>
                      <a:pt x="63459" y="83119"/>
                      <a:pt x="61448" y="84308"/>
                    </a:cubicBezTo>
                    <a:cubicBezTo>
                      <a:pt x="59527" y="85588"/>
                      <a:pt x="57333" y="86685"/>
                      <a:pt x="55047" y="87691"/>
                    </a:cubicBezTo>
                    <a:cubicBezTo>
                      <a:pt x="52761" y="88697"/>
                      <a:pt x="50109"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469" y="63642"/>
                      <a:pt x="1463" y="59345"/>
                    </a:cubicBezTo>
                    <a:cubicBezTo>
                      <a:pt x="457" y="55138"/>
                      <a:pt x="0" y="50475"/>
                      <a:pt x="0" y="45446"/>
                    </a:cubicBezTo>
                    <a:cubicBezTo>
                      <a:pt x="0" y="38130"/>
                      <a:pt x="914" y="31547"/>
                      <a:pt x="2835" y="25878"/>
                    </a:cubicBezTo>
                    <a:cubicBezTo>
                      <a:pt x="4663" y="20208"/>
                      <a:pt x="7315" y="15453"/>
                      <a:pt x="10698" y="11613"/>
                    </a:cubicBezTo>
                    <a:cubicBezTo>
                      <a:pt x="14082" y="7772"/>
                      <a:pt x="18014"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4066" y="32278"/>
                      <a:pt x="74798" y="37856"/>
                      <a:pt x="74798"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4" name="Freeform: Shape 323">
                <a:extLst>
                  <a:ext uri="{FF2B5EF4-FFF2-40B4-BE49-F238E27FC236}">
                    <a16:creationId xmlns:a16="http://schemas.microsoft.com/office/drawing/2014/main" id="{9F8D3D31-A45F-4F83-8FE5-59D4649C8087}"/>
                  </a:ext>
                </a:extLst>
              </p:cNvPr>
              <p:cNvSpPr/>
              <p:nvPr/>
            </p:nvSpPr>
            <p:spPr>
              <a:xfrm>
                <a:off x="2925293" y="6033760"/>
                <a:ext cx="45720" cy="118872"/>
              </a:xfrm>
              <a:custGeom>
                <a:avLst/>
                <a:gdLst>
                  <a:gd name="connsiteX0" fmla="*/ 48738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9 w 45720"/>
                  <a:gd name="connsiteY20" fmla="*/ 106619 h 118872"/>
                  <a:gd name="connsiteX21" fmla="*/ 38222 w 45720"/>
                  <a:gd name="connsiteY21" fmla="*/ 107076 h 118872"/>
                  <a:gd name="connsiteX22" fmla="*/ 44989 w 45720"/>
                  <a:gd name="connsiteY22" fmla="*/ 105979 h 118872"/>
                  <a:gd name="connsiteX23" fmla="*/ 50749 w 45720"/>
                  <a:gd name="connsiteY23" fmla="*/ 103510 h 118872"/>
                  <a:gd name="connsiteX24" fmla="*/ 48738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8" y="118689"/>
                    </a:moveTo>
                    <a:cubicBezTo>
                      <a:pt x="46634" y="119878"/>
                      <a:pt x="44166" y="120884"/>
                      <a:pt x="41331" y="121615"/>
                    </a:cubicBezTo>
                    <a:cubicBezTo>
                      <a:pt x="38496" y="122347"/>
                      <a:pt x="35387" y="122712"/>
                      <a:pt x="32004" y="122712"/>
                    </a:cubicBezTo>
                    <a:cubicBezTo>
                      <a:pt x="29078" y="122712"/>
                      <a:pt x="26426" y="122255"/>
                      <a:pt x="24232" y="121432"/>
                    </a:cubicBezTo>
                    <a:cubicBezTo>
                      <a:pt x="22037"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3053"/>
                      <a:pt x="30632" y="104059"/>
                      <a:pt x="31364" y="104882"/>
                    </a:cubicBezTo>
                    <a:cubicBezTo>
                      <a:pt x="32096" y="105705"/>
                      <a:pt x="33010" y="106253"/>
                      <a:pt x="34199" y="106619"/>
                    </a:cubicBezTo>
                    <a:cubicBezTo>
                      <a:pt x="35387" y="106893"/>
                      <a:pt x="36668" y="107076"/>
                      <a:pt x="38222" y="107076"/>
                    </a:cubicBezTo>
                    <a:cubicBezTo>
                      <a:pt x="40417" y="107076"/>
                      <a:pt x="42703" y="106710"/>
                      <a:pt x="44989" y="105979"/>
                    </a:cubicBezTo>
                    <a:cubicBezTo>
                      <a:pt x="47275" y="105247"/>
                      <a:pt x="49195" y="104516"/>
                      <a:pt x="50749" y="103510"/>
                    </a:cubicBezTo>
                    <a:lnTo>
                      <a:pt x="48738"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5" name="Freeform: Shape 324">
                <a:extLst>
                  <a:ext uri="{FF2B5EF4-FFF2-40B4-BE49-F238E27FC236}">
                    <a16:creationId xmlns:a16="http://schemas.microsoft.com/office/drawing/2014/main" id="{2578350D-AF62-4E21-BB9E-E105938B2F6B}"/>
                  </a:ext>
                </a:extLst>
              </p:cNvPr>
              <p:cNvSpPr/>
              <p:nvPr/>
            </p:nvSpPr>
            <p:spPr>
              <a:xfrm>
                <a:off x="2986283" y="6033760"/>
                <a:ext cx="45720" cy="118872"/>
              </a:xfrm>
              <a:custGeom>
                <a:avLst/>
                <a:gdLst>
                  <a:gd name="connsiteX0" fmla="*/ 48737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8 w 45720"/>
                  <a:gd name="connsiteY20" fmla="*/ 106619 h 118872"/>
                  <a:gd name="connsiteX21" fmla="*/ 38222 w 45720"/>
                  <a:gd name="connsiteY21" fmla="*/ 107076 h 118872"/>
                  <a:gd name="connsiteX22" fmla="*/ 44988 w 45720"/>
                  <a:gd name="connsiteY22" fmla="*/ 105979 h 118872"/>
                  <a:gd name="connsiteX23" fmla="*/ 50749 w 45720"/>
                  <a:gd name="connsiteY23" fmla="*/ 103510 h 118872"/>
                  <a:gd name="connsiteX24" fmla="*/ 48737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7" y="118689"/>
                    </a:moveTo>
                    <a:cubicBezTo>
                      <a:pt x="46634" y="119878"/>
                      <a:pt x="44165" y="120884"/>
                      <a:pt x="41331" y="121615"/>
                    </a:cubicBezTo>
                    <a:cubicBezTo>
                      <a:pt x="38496" y="122347"/>
                      <a:pt x="35387" y="122712"/>
                      <a:pt x="32004" y="122712"/>
                    </a:cubicBezTo>
                    <a:cubicBezTo>
                      <a:pt x="29078" y="122712"/>
                      <a:pt x="26426" y="122255"/>
                      <a:pt x="24232" y="121432"/>
                    </a:cubicBezTo>
                    <a:cubicBezTo>
                      <a:pt x="22037"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3053"/>
                      <a:pt x="30632" y="104059"/>
                      <a:pt x="31364" y="104882"/>
                    </a:cubicBezTo>
                    <a:cubicBezTo>
                      <a:pt x="32095" y="105705"/>
                      <a:pt x="33010" y="106253"/>
                      <a:pt x="34198" y="106619"/>
                    </a:cubicBezTo>
                    <a:cubicBezTo>
                      <a:pt x="35387" y="106893"/>
                      <a:pt x="36667" y="107076"/>
                      <a:pt x="38222" y="107076"/>
                    </a:cubicBezTo>
                    <a:cubicBezTo>
                      <a:pt x="40416" y="107076"/>
                      <a:pt x="42702" y="106710"/>
                      <a:pt x="44988" y="105979"/>
                    </a:cubicBezTo>
                    <a:cubicBezTo>
                      <a:pt x="47274" y="105247"/>
                      <a:pt x="49195" y="104516"/>
                      <a:pt x="50749" y="103510"/>
                    </a:cubicBezTo>
                    <a:lnTo>
                      <a:pt x="48737"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6" name="Freeform: Shape 325">
                <a:extLst>
                  <a:ext uri="{FF2B5EF4-FFF2-40B4-BE49-F238E27FC236}">
                    <a16:creationId xmlns:a16="http://schemas.microsoft.com/office/drawing/2014/main" id="{FB3AA575-8A54-49CB-8C28-C286841644D0}"/>
                  </a:ext>
                </a:extLst>
              </p:cNvPr>
              <p:cNvSpPr/>
              <p:nvPr/>
            </p:nvSpPr>
            <p:spPr>
              <a:xfrm>
                <a:off x="3049377" y="6065581"/>
                <a:ext cx="73152" cy="82296"/>
              </a:xfrm>
              <a:custGeom>
                <a:avLst/>
                <a:gdLst>
                  <a:gd name="connsiteX0" fmla="*/ 57607 w 73152"/>
                  <a:gd name="connsiteY0" fmla="*/ 37490 h 82296"/>
                  <a:gd name="connsiteX1" fmla="*/ 56053 w 73152"/>
                  <a:gd name="connsiteY1" fmla="*/ 29078 h 82296"/>
                  <a:gd name="connsiteX2" fmla="*/ 52304 w 73152"/>
                  <a:gd name="connsiteY2" fmla="*/ 22128 h 82296"/>
                  <a:gd name="connsiteX3" fmla="*/ 46086 w 73152"/>
                  <a:gd name="connsiteY3" fmla="*/ 17374 h 82296"/>
                  <a:gd name="connsiteX4" fmla="*/ 37033 w 73152"/>
                  <a:gd name="connsiteY4" fmla="*/ 15636 h 82296"/>
                  <a:gd name="connsiteX5" fmla="*/ 29078 w 73152"/>
                  <a:gd name="connsiteY5" fmla="*/ 17099 h 82296"/>
                  <a:gd name="connsiteX6" fmla="*/ 23226 w 73152"/>
                  <a:gd name="connsiteY6" fmla="*/ 21397 h 82296"/>
                  <a:gd name="connsiteX7" fmla="*/ 19202 w 73152"/>
                  <a:gd name="connsiteY7" fmla="*/ 28164 h 82296"/>
                  <a:gd name="connsiteX8" fmla="*/ 17099 w 73152"/>
                  <a:gd name="connsiteY8" fmla="*/ 37490 h 82296"/>
                  <a:gd name="connsiteX9" fmla="*/ 57607 w 73152"/>
                  <a:gd name="connsiteY9" fmla="*/ 37490 h 82296"/>
                  <a:gd name="connsiteX10" fmla="*/ 74798 w 73152"/>
                  <a:gd name="connsiteY10" fmla="*/ 43800 h 82296"/>
                  <a:gd name="connsiteX11" fmla="*/ 74615 w 73152"/>
                  <a:gd name="connsiteY11" fmla="*/ 48189 h 82296"/>
                  <a:gd name="connsiteX12" fmla="*/ 74249 w 73152"/>
                  <a:gd name="connsiteY12" fmla="*/ 51572 h 82296"/>
                  <a:gd name="connsiteX13" fmla="*/ 16642 w 73152"/>
                  <a:gd name="connsiteY13" fmla="*/ 51572 h 82296"/>
                  <a:gd name="connsiteX14" fmla="*/ 19385 w 73152"/>
                  <a:gd name="connsiteY14" fmla="*/ 62362 h 82296"/>
                  <a:gd name="connsiteX15" fmla="*/ 24323 w 73152"/>
                  <a:gd name="connsiteY15" fmla="*/ 69769 h 82296"/>
                  <a:gd name="connsiteX16" fmla="*/ 30907 w 73152"/>
                  <a:gd name="connsiteY16" fmla="*/ 74066 h 82296"/>
                  <a:gd name="connsiteX17" fmla="*/ 38588 w 73152"/>
                  <a:gd name="connsiteY17" fmla="*/ 75438 h 82296"/>
                  <a:gd name="connsiteX18" fmla="*/ 43891 w 73152"/>
                  <a:gd name="connsiteY18" fmla="*/ 74981 h 82296"/>
                  <a:gd name="connsiteX19" fmla="*/ 48737 w 73152"/>
                  <a:gd name="connsiteY19" fmla="*/ 73518 h 82296"/>
                  <a:gd name="connsiteX20" fmla="*/ 52852 w 73152"/>
                  <a:gd name="connsiteY20" fmla="*/ 71506 h 82296"/>
                  <a:gd name="connsiteX21" fmla="*/ 57516 w 73152"/>
                  <a:gd name="connsiteY21" fmla="*/ 68489 h 82296"/>
                  <a:gd name="connsiteX22" fmla="*/ 67666 w 73152"/>
                  <a:gd name="connsiteY22" fmla="*/ 79370 h 82296"/>
                  <a:gd name="connsiteX23" fmla="*/ 61448 w 73152"/>
                  <a:gd name="connsiteY23" fmla="*/ 84308 h 82296"/>
                  <a:gd name="connsiteX24" fmla="*/ 55047 w 73152"/>
                  <a:gd name="connsiteY24" fmla="*/ 87691 h 82296"/>
                  <a:gd name="connsiteX25" fmla="*/ 47275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9 w 73152"/>
                  <a:gd name="connsiteY34" fmla="*/ 11613 h 82296"/>
                  <a:gd name="connsiteX35" fmla="*/ 22768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03 w 73152"/>
                  <a:gd name="connsiteY39" fmla="*/ 26975 h 82296"/>
                  <a:gd name="connsiteX40" fmla="*/ 74798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490"/>
                    </a:moveTo>
                    <a:cubicBezTo>
                      <a:pt x="57424" y="34564"/>
                      <a:pt x="56876" y="31730"/>
                      <a:pt x="56053" y="29078"/>
                    </a:cubicBezTo>
                    <a:cubicBezTo>
                      <a:pt x="55230" y="26426"/>
                      <a:pt x="53950" y="24140"/>
                      <a:pt x="52304" y="22128"/>
                    </a:cubicBezTo>
                    <a:cubicBezTo>
                      <a:pt x="50658" y="20117"/>
                      <a:pt x="48555" y="18562"/>
                      <a:pt x="46086" y="17374"/>
                    </a:cubicBezTo>
                    <a:cubicBezTo>
                      <a:pt x="43617" y="16185"/>
                      <a:pt x="40599" y="15636"/>
                      <a:pt x="37033" y="15636"/>
                    </a:cubicBezTo>
                    <a:cubicBezTo>
                      <a:pt x="34016" y="15636"/>
                      <a:pt x="31364" y="16093"/>
                      <a:pt x="29078" y="17099"/>
                    </a:cubicBezTo>
                    <a:cubicBezTo>
                      <a:pt x="26792" y="18105"/>
                      <a:pt x="24872" y="19477"/>
                      <a:pt x="23226" y="21397"/>
                    </a:cubicBezTo>
                    <a:cubicBezTo>
                      <a:pt x="21580" y="23226"/>
                      <a:pt x="20300" y="25512"/>
                      <a:pt x="19202" y="28164"/>
                    </a:cubicBezTo>
                    <a:cubicBezTo>
                      <a:pt x="18196" y="30815"/>
                      <a:pt x="17465" y="33924"/>
                      <a:pt x="17099" y="37490"/>
                    </a:cubicBezTo>
                    <a:lnTo>
                      <a:pt x="57607" y="37490"/>
                    </a:lnTo>
                    <a:close/>
                    <a:moveTo>
                      <a:pt x="74798" y="43800"/>
                    </a:moveTo>
                    <a:cubicBezTo>
                      <a:pt x="74798" y="45354"/>
                      <a:pt x="74707" y="46817"/>
                      <a:pt x="74615" y="48189"/>
                    </a:cubicBezTo>
                    <a:cubicBezTo>
                      <a:pt x="74524" y="49560"/>
                      <a:pt x="74432" y="50658"/>
                      <a:pt x="74249" y="51572"/>
                    </a:cubicBezTo>
                    <a:lnTo>
                      <a:pt x="16642" y="51572"/>
                    </a:lnTo>
                    <a:cubicBezTo>
                      <a:pt x="17099" y="55778"/>
                      <a:pt x="18014" y="59345"/>
                      <a:pt x="19385" y="62362"/>
                    </a:cubicBezTo>
                    <a:cubicBezTo>
                      <a:pt x="20757" y="65380"/>
                      <a:pt x="22403" y="67848"/>
                      <a:pt x="24323" y="69769"/>
                    </a:cubicBezTo>
                    <a:cubicBezTo>
                      <a:pt x="26243" y="71689"/>
                      <a:pt x="28438" y="73152"/>
                      <a:pt x="30907" y="74066"/>
                    </a:cubicBezTo>
                    <a:cubicBezTo>
                      <a:pt x="33376" y="74981"/>
                      <a:pt x="35936" y="75438"/>
                      <a:pt x="38588" y="75438"/>
                    </a:cubicBezTo>
                    <a:cubicBezTo>
                      <a:pt x="40508" y="75438"/>
                      <a:pt x="42245" y="75255"/>
                      <a:pt x="43891" y="74981"/>
                    </a:cubicBezTo>
                    <a:cubicBezTo>
                      <a:pt x="45537" y="74615"/>
                      <a:pt x="47183" y="74158"/>
                      <a:pt x="48737" y="73518"/>
                    </a:cubicBezTo>
                    <a:cubicBezTo>
                      <a:pt x="50292" y="72878"/>
                      <a:pt x="51664" y="72238"/>
                      <a:pt x="52852" y="71506"/>
                    </a:cubicBezTo>
                    <a:cubicBezTo>
                      <a:pt x="54041" y="70866"/>
                      <a:pt x="55595" y="69769"/>
                      <a:pt x="57516" y="68489"/>
                    </a:cubicBezTo>
                    <a:lnTo>
                      <a:pt x="67666" y="79370"/>
                    </a:lnTo>
                    <a:cubicBezTo>
                      <a:pt x="65471" y="81382"/>
                      <a:pt x="63459" y="83119"/>
                      <a:pt x="61448" y="84308"/>
                    </a:cubicBezTo>
                    <a:cubicBezTo>
                      <a:pt x="59528" y="85588"/>
                      <a:pt x="57333" y="86685"/>
                      <a:pt x="55047" y="87691"/>
                    </a:cubicBezTo>
                    <a:cubicBezTo>
                      <a:pt x="52761" y="88697"/>
                      <a:pt x="50109" y="89428"/>
                      <a:pt x="47275"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1" y="67391"/>
                      <a:pt x="2469" y="63642"/>
                      <a:pt x="1463" y="59345"/>
                    </a:cubicBezTo>
                    <a:cubicBezTo>
                      <a:pt x="457" y="55138"/>
                      <a:pt x="0" y="50475"/>
                      <a:pt x="0" y="45446"/>
                    </a:cubicBezTo>
                    <a:cubicBezTo>
                      <a:pt x="0" y="38130"/>
                      <a:pt x="914" y="31547"/>
                      <a:pt x="2835" y="25878"/>
                    </a:cubicBezTo>
                    <a:cubicBezTo>
                      <a:pt x="4664" y="20208"/>
                      <a:pt x="7315" y="15453"/>
                      <a:pt x="10699" y="11613"/>
                    </a:cubicBezTo>
                    <a:cubicBezTo>
                      <a:pt x="14082" y="7772"/>
                      <a:pt x="18014" y="4846"/>
                      <a:pt x="22768" y="2926"/>
                    </a:cubicBezTo>
                    <a:cubicBezTo>
                      <a:pt x="27432" y="914"/>
                      <a:pt x="32644" y="0"/>
                      <a:pt x="38222" y="0"/>
                    </a:cubicBezTo>
                    <a:cubicBezTo>
                      <a:pt x="44440" y="0"/>
                      <a:pt x="49835" y="1189"/>
                      <a:pt x="54407" y="3566"/>
                    </a:cubicBezTo>
                    <a:cubicBezTo>
                      <a:pt x="58979" y="5944"/>
                      <a:pt x="62819" y="9053"/>
                      <a:pt x="65837" y="13076"/>
                    </a:cubicBezTo>
                    <a:cubicBezTo>
                      <a:pt x="68854" y="17099"/>
                      <a:pt x="71140" y="21671"/>
                      <a:pt x="72603" y="26975"/>
                    </a:cubicBezTo>
                    <a:cubicBezTo>
                      <a:pt x="74066" y="32278"/>
                      <a:pt x="74798" y="37856"/>
                      <a:pt x="74798"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7" name="Freeform: Shape 326">
                <a:extLst>
                  <a:ext uri="{FF2B5EF4-FFF2-40B4-BE49-F238E27FC236}">
                    <a16:creationId xmlns:a16="http://schemas.microsoft.com/office/drawing/2014/main" id="{9D57395B-52D1-4938-A036-BEAE8B041EB6}"/>
                  </a:ext>
                </a:extLst>
              </p:cNvPr>
              <p:cNvSpPr/>
              <p:nvPr/>
            </p:nvSpPr>
            <p:spPr>
              <a:xfrm>
                <a:off x="3142188" y="6065581"/>
                <a:ext cx="45720" cy="82296"/>
              </a:xfrm>
              <a:custGeom>
                <a:avLst/>
                <a:gdLst>
                  <a:gd name="connsiteX0" fmla="*/ 47183 w 45720"/>
                  <a:gd name="connsiteY0" fmla="*/ 20025 h 82296"/>
                  <a:gd name="connsiteX1" fmla="*/ 41422 w 45720"/>
                  <a:gd name="connsiteY1" fmla="*/ 17648 h 82296"/>
                  <a:gd name="connsiteX2" fmla="*/ 34198 w 45720"/>
                  <a:gd name="connsiteY2" fmla="*/ 16825 h 82296"/>
                  <a:gd name="connsiteX3" fmla="*/ 21580 w 45720"/>
                  <a:gd name="connsiteY3" fmla="*/ 22403 h 82296"/>
                  <a:gd name="connsiteX4" fmla="*/ 17099 w 45720"/>
                  <a:gd name="connsiteY4" fmla="*/ 39228 h 82296"/>
                  <a:gd name="connsiteX5" fmla="*/ 17099 w 45720"/>
                  <a:gd name="connsiteY5" fmla="*/ 88971 h 82296"/>
                  <a:gd name="connsiteX6" fmla="*/ 0 w 45720"/>
                  <a:gd name="connsiteY6" fmla="*/ 88971 h 82296"/>
                  <a:gd name="connsiteX7" fmla="*/ 0 w 45720"/>
                  <a:gd name="connsiteY7" fmla="*/ 1920 h 82296"/>
                  <a:gd name="connsiteX8" fmla="*/ 17099 w 45720"/>
                  <a:gd name="connsiteY8" fmla="*/ 1920 h 82296"/>
                  <a:gd name="connsiteX9" fmla="*/ 17099 w 45720"/>
                  <a:gd name="connsiteY9" fmla="*/ 10150 h 82296"/>
                  <a:gd name="connsiteX10" fmla="*/ 20666 w 45720"/>
                  <a:gd name="connsiteY10" fmla="*/ 6126 h 82296"/>
                  <a:gd name="connsiteX11" fmla="*/ 25329 w 45720"/>
                  <a:gd name="connsiteY11" fmla="*/ 2926 h 82296"/>
                  <a:gd name="connsiteX12" fmla="*/ 30815 w 45720"/>
                  <a:gd name="connsiteY12" fmla="*/ 732 h 82296"/>
                  <a:gd name="connsiteX13" fmla="*/ 36942 w 45720"/>
                  <a:gd name="connsiteY13" fmla="*/ 0 h 82296"/>
                  <a:gd name="connsiteX14" fmla="*/ 45720 w 45720"/>
                  <a:gd name="connsiteY14" fmla="*/ 1006 h 82296"/>
                  <a:gd name="connsiteX15" fmla="*/ 51755 w 45720"/>
                  <a:gd name="connsiteY15" fmla="*/ 3658 h 82296"/>
                  <a:gd name="connsiteX16" fmla="*/ 47183 w 45720"/>
                  <a:gd name="connsiteY16" fmla="*/ 20025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 h="82296">
                    <a:moveTo>
                      <a:pt x="47183" y="20025"/>
                    </a:moveTo>
                    <a:cubicBezTo>
                      <a:pt x="45354" y="19020"/>
                      <a:pt x="43434" y="18197"/>
                      <a:pt x="41422" y="17648"/>
                    </a:cubicBezTo>
                    <a:cubicBezTo>
                      <a:pt x="39411" y="17099"/>
                      <a:pt x="36942" y="16825"/>
                      <a:pt x="34198" y="16825"/>
                    </a:cubicBezTo>
                    <a:cubicBezTo>
                      <a:pt x="28712" y="16825"/>
                      <a:pt x="24506" y="18654"/>
                      <a:pt x="21580" y="22403"/>
                    </a:cubicBezTo>
                    <a:cubicBezTo>
                      <a:pt x="18562" y="26152"/>
                      <a:pt x="17099" y="31730"/>
                      <a:pt x="17099" y="39228"/>
                    </a:cubicBezTo>
                    <a:lnTo>
                      <a:pt x="17099" y="88971"/>
                    </a:lnTo>
                    <a:lnTo>
                      <a:pt x="0" y="88971"/>
                    </a:lnTo>
                    <a:lnTo>
                      <a:pt x="0" y="1920"/>
                    </a:lnTo>
                    <a:lnTo>
                      <a:pt x="17099" y="1920"/>
                    </a:lnTo>
                    <a:lnTo>
                      <a:pt x="17099" y="10150"/>
                    </a:lnTo>
                    <a:cubicBezTo>
                      <a:pt x="18105" y="8687"/>
                      <a:pt x="19294" y="7315"/>
                      <a:pt x="20666" y="6126"/>
                    </a:cubicBezTo>
                    <a:cubicBezTo>
                      <a:pt x="22037" y="4938"/>
                      <a:pt x="23592" y="3840"/>
                      <a:pt x="25329" y="2926"/>
                    </a:cubicBezTo>
                    <a:cubicBezTo>
                      <a:pt x="27066" y="2012"/>
                      <a:pt x="28895" y="1280"/>
                      <a:pt x="30815" y="732"/>
                    </a:cubicBezTo>
                    <a:cubicBezTo>
                      <a:pt x="32736" y="183"/>
                      <a:pt x="34839" y="0"/>
                      <a:pt x="36942" y="0"/>
                    </a:cubicBezTo>
                    <a:cubicBezTo>
                      <a:pt x="40417" y="0"/>
                      <a:pt x="43342" y="366"/>
                      <a:pt x="45720" y="1006"/>
                    </a:cubicBezTo>
                    <a:cubicBezTo>
                      <a:pt x="48006" y="1646"/>
                      <a:pt x="50109" y="2560"/>
                      <a:pt x="51755" y="3658"/>
                    </a:cubicBezTo>
                    <a:lnTo>
                      <a:pt x="47183" y="20025"/>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8" name="Freeform: Shape 327">
                <a:extLst>
                  <a:ext uri="{FF2B5EF4-FFF2-40B4-BE49-F238E27FC236}">
                    <a16:creationId xmlns:a16="http://schemas.microsoft.com/office/drawing/2014/main" id="{0647F2E3-0055-4E51-A565-825E0FE907C8}"/>
                  </a:ext>
                </a:extLst>
              </p:cNvPr>
              <p:cNvSpPr/>
              <p:nvPr/>
            </p:nvSpPr>
            <p:spPr>
              <a:xfrm>
                <a:off x="3242589" y="6033760"/>
                <a:ext cx="45720" cy="118872"/>
              </a:xfrm>
              <a:custGeom>
                <a:avLst/>
                <a:gdLst>
                  <a:gd name="connsiteX0" fmla="*/ 48737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8 w 45720"/>
                  <a:gd name="connsiteY20" fmla="*/ 106619 h 118872"/>
                  <a:gd name="connsiteX21" fmla="*/ 38222 w 45720"/>
                  <a:gd name="connsiteY21" fmla="*/ 107076 h 118872"/>
                  <a:gd name="connsiteX22" fmla="*/ 44988 w 45720"/>
                  <a:gd name="connsiteY22" fmla="*/ 105979 h 118872"/>
                  <a:gd name="connsiteX23" fmla="*/ 50749 w 45720"/>
                  <a:gd name="connsiteY23" fmla="*/ 103510 h 118872"/>
                  <a:gd name="connsiteX24" fmla="*/ 48737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7" y="118689"/>
                    </a:moveTo>
                    <a:cubicBezTo>
                      <a:pt x="46634" y="119878"/>
                      <a:pt x="44165" y="120884"/>
                      <a:pt x="41331" y="121615"/>
                    </a:cubicBezTo>
                    <a:cubicBezTo>
                      <a:pt x="38496" y="122347"/>
                      <a:pt x="35387" y="122712"/>
                      <a:pt x="32004" y="122712"/>
                    </a:cubicBezTo>
                    <a:cubicBezTo>
                      <a:pt x="29078" y="122712"/>
                      <a:pt x="26426" y="122255"/>
                      <a:pt x="24232" y="121432"/>
                    </a:cubicBezTo>
                    <a:cubicBezTo>
                      <a:pt x="22037"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3053"/>
                      <a:pt x="30632" y="104059"/>
                      <a:pt x="31364" y="104882"/>
                    </a:cubicBezTo>
                    <a:cubicBezTo>
                      <a:pt x="32095" y="105705"/>
                      <a:pt x="33010" y="106253"/>
                      <a:pt x="34198" y="106619"/>
                    </a:cubicBezTo>
                    <a:cubicBezTo>
                      <a:pt x="35387" y="106893"/>
                      <a:pt x="36667" y="107076"/>
                      <a:pt x="38222" y="107076"/>
                    </a:cubicBezTo>
                    <a:cubicBezTo>
                      <a:pt x="40416" y="107076"/>
                      <a:pt x="42702" y="106710"/>
                      <a:pt x="44988" y="105979"/>
                    </a:cubicBezTo>
                    <a:cubicBezTo>
                      <a:pt x="47274" y="105247"/>
                      <a:pt x="49195" y="104516"/>
                      <a:pt x="50749" y="103510"/>
                    </a:cubicBezTo>
                    <a:lnTo>
                      <a:pt x="48737"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9" name="Freeform: Shape 328">
                <a:extLst>
                  <a:ext uri="{FF2B5EF4-FFF2-40B4-BE49-F238E27FC236}">
                    <a16:creationId xmlns:a16="http://schemas.microsoft.com/office/drawing/2014/main" id="{0386071D-D365-4BD9-9A98-F486253C72F8}"/>
                  </a:ext>
                </a:extLst>
              </p:cNvPr>
              <p:cNvSpPr/>
              <p:nvPr/>
            </p:nvSpPr>
            <p:spPr>
              <a:xfrm>
                <a:off x="3313181" y="6033760"/>
                <a:ext cx="64008" cy="118872"/>
              </a:xfrm>
              <a:custGeom>
                <a:avLst/>
                <a:gdLst>
                  <a:gd name="connsiteX0" fmla="*/ 52852 w 64008"/>
                  <a:gd name="connsiteY0" fmla="*/ 120884 h 118872"/>
                  <a:gd name="connsiteX1" fmla="*/ 52852 w 64008"/>
                  <a:gd name="connsiteY1" fmla="*/ 71598 h 118872"/>
                  <a:gd name="connsiteX2" fmla="*/ 48555 w 64008"/>
                  <a:gd name="connsiteY2" fmla="*/ 53584 h 118872"/>
                  <a:gd name="connsiteX3" fmla="*/ 34930 w 64008"/>
                  <a:gd name="connsiteY3" fmla="*/ 47640 h 118872"/>
                  <a:gd name="connsiteX4" fmla="*/ 27615 w 64008"/>
                  <a:gd name="connsiteY4" fmla="*/ 48920 h 118872"/>
                  <a:gd name="connsiteX5" fmla="*/ 21854 w 64008"/>
                  <a:gd name="connsiteY5" fmla="*/ 53218 h 118872"/>
                  <a:gd name="connsiteX6" fmla="*/ 18288 w 64008"/>
                  <a:gd name="connsiteY6" fmla="*/ 60259 h 118872"/>
                  <a:gd name="connsiteX7" fmla="*/ 17099 w 64008"/>
                  <a:gd name="connsiteY7" fmla="*/ 69860 h 118872"/>
                  <a:gd name="connsiteX8" fmla="*/ 17099 w 64008"/>
                  <a:gd name="connsiteY8" fmla="*/ 120792 h 118872"/>
                  <a:gd name="connsiteX9" fmla="*/ 0 w 64008"/>
                  <a:gd name="connsiteY9" fmla="*/ 120792 h 118872"/>
                  <a:gd name="connsiteX10" fmla="*/ 0 w 64008"/>
                  <a:gd name="connsiteY10" fmla="*/ 8961 h 118872"/>
                  <a:gd name="connsiteX11" fmla="*/ 17099 w 64008"/>
                  <a:gd name="connsiteY11" fmla="*/ 0 h 118872"/>
                  <a:gd name="connsiteX12" fmla="*/ 17099 w 64008"/>
                  <a:gd name="connsiteY12" fmla="*/ 42154 h 118872"/>
                  <a:gd name="connsiteX13" fmla="*/ 21031 w 64008"/>
                  <a:gd name="connsiteY13" fmla="*/ 37948 h 118872"/>
                  <a:gd name="connsiteX14" fmla="*/ 26243 w 64008"/>
                  <a:gd name="connsiteY14" fmla="*/ 34747 h 118872"/>
                  <a:gd name="connsiteX15" fmla="*/ 32278 w 64008"/>
                  <a:gd name="connsiteY15" fmla="*/ 32736 h 118872"/>
                  <a:gd name="connsiteX16" fmla="*/ 38953 w 64008"/>
                  <a:gd name="connsiteY16" fmla="*/ 32004 h 118872"/>
                  <a:gd name="connsiteX17" fmla="*/ 52578 w 64008"/>
                  <a:gd name="connsiteY17" fmla="*/ 34473 h 118872"/>
                  <a:gd name="connsiteX18" fmla="*/ 62271 w 64008"/>
                  <a:gd name="connsiteY18" fmla="*/ 41880 h 118872"/>
                  <a:gd name="connsiteX19" fmla="*/ 68123 w 64008"/>
                  <a:gd name="connsiteY19" fmla="*/ 54315 h 118872"/>
                  <a:gd name="connsiteX20" fmla="*/ 70043 w 64008"/>
                  <a:gd name="connsiteY20" fmla="*/ 70957 h 118872"/>
                  <a:gd name="connsiteX21" fmla="*/ 70043 w 64008"/>
                  <a:gd name="connsiteY21" fmla="*/ 120884 h 118872"/>
                  <a:gd name="connsiteX22" fmla="*/ 52852 w 64008"/>
                  <a:gd name="connsiteY22" fmla="*/ 120884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118872">
                    <a:moveTo>
                      <a:pt x="52852" y="120884"/>
                    </a:moveTo>
                    <a:lnTo>
                      <a:pt x="52852" y="71598"/>
                    </a:lnTo>
                    <a:cubicBezTo>
                      <a:pt x="52852" y="63551"/>
                      <a:pt x="51389" y="57516"/>
                      <a:pt x="48555" y="53584"/>
                    </a:cubicBezTo>
                    <a:cubicBezTo>
                      <a:pt x="45720" y="49652"/>
                      <a:pt x="41148" y="47640"/>
                      <a:pt x="34930" y="47640"/>
                    </a:cubicBezTo>
                    <a:cubicBezTo>
                      <a:pt x="32278" y="47640"/>
                      <a:pt x="29809" y="48097"/>
                      <a:pt x="27615" y="48920"/>
                    </a:cubicBezTo>
                    <a:cubicBezTo>
                      <a:pt x="25329" y="49743"/>
                      <a:pt x="23409" y="51206"/>
                      <a:pt x="21854" y="53218"/>
                    </a:cubicBezTo>
                    <a:cubicBezTo>
                      <a:pt x="20300" y="55230"/>
                      <a:pt x="19019" y="57607"/>
                      <a:pt x="18288" y="60259"/>
                    </a:cubicBezTo>
                    <a:cubicBezTo>
                      <a:pt x="17465" y="63002"/>
                      <a:pt x="17099" y="66111"/>
                      <a:pt x="17099" y="69860"/>
                    </a:cubicBezTo>
                    <a:lnTo>
                      <a:pt x="17099" y="120792"/>
                    </a:lnTo>
                    <a:lnTo>
                      <a:pt x="0" y="120792"/>
                    </a:lnTo>
                    <a:lnTo>
                      <a:pt x="0" y="8961"/>
                    </a:lnTo>
                    <a:lnTo>
                      <a:pt x="17099" y="0"/>
                    </a:lnTo>
                    <a:lnTo>
                      <a:pt x="17099" y="42154"/>
                    </a:lnTo>
                    <a:cubicBezTo>
                      <a:pt x="18196" y="40599"/>
                      <a:pt x="19477" y="39136"/>
                      <a:pt x="21031" y="37948"/>
                    </a:cubicBezTo>
                    <a:cubicBezTo>
                      <a:pt x="22586" y="36667"/>
                      <a:pt x="24323" y="35570"/>
                      <a:pt x="26243" y="34747"/>
                    </a:cubicBezTo>
                    <a:cubicBezTo>
                      <a:pt x="28163" y="33924"/>
                      <a:pt x="30175" y="33193"/>
                      <a:pt x="32278" y="32736"/>
                    </a:cubicBezTo>
                    <a:cubicBezTo>
                      <a:pt x="34473" y="32278"/>
                      <a:pt x="36667" y="32004"/>
                      <a:pt x="38953" y="32004"/>
                    </a:cubicBezTo>
                    <a:cubicBezTo>
                      <a:pt x="44165" y="32004"/>
                      <a:pt x="48737" y="32827"/>
                      <a:pt x="52578" y="34473"/>
                    </a:cubicBezTo>
                    <a:cubicBezTo>
                      <a:pt x="56418" y="36119"/>
                      <a:pt x="59619" y="38588"/>
                      <a:pt x="62271" y="41880"/>
                    </a:cubicBezTo>
                    <a:cubicBezTo>
                      <a:pt x="64922" y="45171"/>
                      <a:pt x="66843" y="49286"/>
                      <a:pt x="68123" y="54315"/>
                    </a:cubicBezTo>
                    <a:cubicBezTo>
                      <a:pt x="69403" y="59345"/>
                      <a:pt x="70043" y="64922"/>
                      <a:pt x="70043" y="70957"/>
                    </a:cubicBezTo>
                    <a:lnTo>
                      <a:pt x="70043" y="120884"/>
                    </a:lnTo>
                    <a:lnTo>
                      <a:pt x="52852" y="12088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0" name="Freeform: Shape 329">
                <a:extLst>
                  <a:ext uri="{FF2B5EF4-FFF2-40B4-BE49-F238E27FC236}">
                    <a16:creationId xmlns:a16="http://schemas.microsoft.com/office/drawing/2014/main" id="{BE45EFD2-2FEA-4455-9E1F-FE6956E0E099}"/>
                  </a:ext>
                </a:extLst>
              </p:cNvPr>
              <p:cNvSpPr/>
              <p:nvPr/>
            </p:nvSpPr>
            <p:spPr>
              <a:xfrm>
                <a:off x="3400140" y="6065581"/>
                <a:ext cx="73152" cy="82296"/>
              </a:xfrm>
              <a:custGeom>
                <a:avLst/>
                <a:gdLst>
                  <a:gd name="connsiteX0" fmla="*/ 57607 w 73152"/>
                  <a:gd name="connsiteY0" fmla="*/ 37490 h 82296"/>
                  <a:gd name="connsiteX1" fmla="*/ 56053 w 73152"/>
                  <a:gd name="connsiteY1" fmla="*/ 29078 h 82296"/>
                  <a:gd name="connsiteX2" fmla="*/ 52304 w 73152"/>
                  <a:gd name="connsiteY2" fmla="*/ 22128 h 82296"/>
                  <a:gd name="connsiteX3" fmla="*/ 46086 w 73152"/>
                  <a:gd name="connsiteY3" fmla="*/ 17374 h 82296"/>
                  <a:gd name="connsiteX4" fmla="*/ 37033 w 73152"/>
                  <a:gd name="connsiteY4" fmla="*/ 15636 h 82296"/>
                  <a:gd name="connsiteX5" fmla="*/ 29078 w 73152"/>
                  <a:gd name="connsiteY5" fmla="*/ 17099 h 82296"/>
                  <a:gd name="connsiteX6" fmla="*/ 23226 w 73152"/>
                  <a:gd name="connsiteY6" fmla="*/ 21397 h 82296"/>
                  <a:gd name="connsiteX7" fmla="*/ 19202 w 73152"/>
                  <a:gd name="connsiteY7" fmla="*/ 28164 h 82296"/>
                  <a:gd name="connsiteX8" fmla="*/ 17100 w 73152"/>
                  <a:gd name="connsiteY8" fmla="*/ 37490 h 82296"/>
                  <a:gd name="connsiteX9" fmla="*/ 57607 w 73152"/>
                  <a:gd name="connsiteY9" fmla="*/ 37490 h 82296"/>
                  <a:gd name="connsiteX10" fmla="*/ 74889 w 73152"/>
                  <a:gd name="connsiteY10" fmla="*/ 43800 h 82296"/>
                  <a:gd name="connsiteX11" fmla="*/ 74707 w 73152"/>
                  <a:gd name="connsiteY11" fmla="*/ 48189 h 82296"/>
                  <a:gd name="connsiteX12" fmla="*/ 74341 w 73152"/>
                  <a:gd name="connsiteY12" fmla="*/ 51572 h 82296"/>
                  <a:gd name="connsiteX13" fmla="*/ 16734 w 73152"/>
                  <a:gd name="connsiteY13" fmla="*/ 51572 h 82296"/>
                  <a:gd name="connsiteX14" fmla="*/ 19477 w 73152"/>
                  <a:gd name="connsiteY14" fmla="*/ 62362 h 82296"/>
                  <a:gd name="connsiteX15" fmla="*/ 24415 w 73152"/>
                  <a:gd name="connsiteY15" fmla="*/ 69769 h 82296"/>
                  <a:gd name="connsiteX16" fmla="*/ 30998 w 73152"/>
                  <a:gd name="connsiteY16" fmla="*/ 74066 h 82296"/>
                  <a:gd name="connsiteX17" fmla="*/ 38679 w 73152"/>
                  <a:gd name="connsiteY17" fmla="*/ 75438 h 82296"/>
                  <a:gd name="connsiteX18" fmla="*/ 43983 w 73152"/>
                  <a:gd name="connsiteY18" fmla="*/ 74981 h 82296"/>
                  <a:gd name="connsiteX19" fmla="*/ 48829 w 73152"/>
                  <a:gd name="connsiteY19" fmla="*/ 73518 h 82296"/>
                  <a:gd name="connsiteX20" fmla="*/ 52944 w 73152"/>
                  <a:gd name="connsiteY20" fmla="*/ 71506 h 82296"/>
                  <a:gd name="connsiteX21" fmla="*/ 57607 w 73152"/>
                  <a:gd name="connsiteY21" fmla="*/ 68489 h 82296"/>
                  <a:gd name="connsiteX22" fmla="*/ 67757 w 73152"/>
                  <a:gd name="connsiteY22" fmla="*/ 79370 h 82296"/>
                  <a:gd name="connsiteX23" fmla="*/ 61539 w 73152"/>
                  <a:gd name="connsiteY23" fmla="*/ 84308 h 82296"/>
                  <a:gd name="connsiteX24" fmla="*/ 55138 w 73152"/>
                  <a:gd name="connsiteY24" fmla="*/ 87691 h 82296"/>
                  <a:gd name="connsiteX25" fmla="*/ 47275 w 73152"/>
                  <a:gd name="connsiteY25" fmla="*/ 89977 h 82296"/>
                  <a:gd name="connsiteX26" fmla="*/ 37674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70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9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03 w 73152"/>
                  <a:gd name="connsiteY39" fmla="*/ 26975 h 82296"/>
                  <a:gd name="connsiteX40" fmla="*/ 74889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490"/>
                    </a:moveTo>
                    <a:cubicBezTo>
                      <a:pt x="57424" y="34564"/>
                      <a:pt x="56876" y="31730"/>
                      <a:pt x="56053" y="29078"/>
                    </a:cubicBezTo>
                    <a:cubicBezTo>
                      <a:pt x="55230" y="26426"/>
                      <a:pt x="53950" y="24140"/>
                      <a:pt x="52304" y="22128"/>
                    </a:cubicBezTo>
                    <a:cubicBezTo>
                      <a:pt x="50658" y="20117"/>
                      <a:pt x="48555" y="18562"/>
                      <a:pt x="46086" y="17374"/>
                    </a:cubicBezTo>
                    <a:cubicBezTo>
                      <a:pt x="43617" y="16185"/>
                      <a:pt x="40599" y="15636"/>
                      <a:pt x="37033" y="15636"/>
                    </a:cubicBezTo>
                    <a:cubicBezTo>
                      <a:pt x="34016" y="15636"/>
                      <a:pt x="31364" y="16093"/>
                      <a:pt x="29078" y="17099"/>
                    </a:cubicBezTo>
                    <a:cubicBezTo>
                      <a:pt x="26792" y="18105"/>
                      <a:pt x="24872" y="19477"/>
                      <a:pt x="23226" y="21397"/>
                    </a:cubicBezTo>
                    <a:cubicBezTo>
                      <a:pt x="21580" y="23226"/>
                      <a:pt x="20300" y="25512"/>
                      <a:pt x="19202" y="28164"/>
                    </a:cubicBezTo>
                    <a:cubicBezTo>
                      <a:pt x="18105" y="30815"/>
                      <a:pt x="17465" y="33924"/>
                      <a:pt x="17100" y="37490"/>
                    </a:cubicBezTo>
                    <a:lnTo>
                      <a:pt x="57607" y="37490"/>
                    </a:lnTo>
                    <a:close/>
                    <a:moveTo>
                      <a:pt x="74889" y="43800"/>
                    </a:moveTo>
                    <a:cubicBezTo>
                      <a:pt x="74889" y="45354"/>
                      <a:pt x="74798" y="46817"/>
                      <a:pt x="74707" y="48189"/>
                    </a:cubicBezTo>
                    <a:cubicBezTo>
                      <a:pt x="74615" y="49560"/>
                      <a:pt x="74524" y="50658"/>
                      <a:pt x="74341" y="51572"/>
                    </a:cubicBezTo>
                    <a:lnTo>
                      <a:pt x="16734" y="51572"/>
                    </a:lnTo>
                    <a:cubicBezTo>
                      <a:pt x="17191" y="55778"/>
                      <a:pt x="18105" y="59345"/>
                      <a:pt x="19477" y="62362"/>
                    </a:cubicBezTo>
                    <a:cubicBezTo>
                      <a:pt x="20848" y="65380"/>
                      <a:pt x="22494" y="67848"/>
                      <a:pt x="24415" y="69769"/>
                    </a:cubicBezTo>
                    <a:cubicBezTo>
                      <a:pt x="26335" y="71689"/>
                      <a:pt x="28530" y="73152"/>
                      <a:pt x="30998" y="74066"/>
                    </a:cubicBezTo>
                    <a:cubicBezTo>
                      <a:pt x="33467" y="74981"/>
                      <a:pt x="36027" y="75438"/>
                      <a:pt x="38679" y="75438"/>
                    </a:cubicBezTo>
                    <a:cubicBezTo>
                      <a:pt x="40599" y="75438"/>
                      <a:pt x="42337" y="75255"/>
                      <a:pt x="43983" y="74981"/>
                    </a:cubicBezTo>
                    <a:cubicBezTo>
                      <a:pt x="45629" y="74615"/>
                      <a:pt x="47275" y="74158"/>
                      <a:pt x="48829" y="73518"/>
                    </a:cubicBezTo>
                    <a:cubicBezTo>
                      <a:pt x="50384" y="72878"/>
                      <a:pt x="51755" y="72238"/>
                      <a:pt x="52944" y="71506"/>
                    </a:cubicBezTo>
                    <a:cubicBezTo>
                      <a:pt x="54133" y="70866"/>
                      <a:pt x="55687" y="69769"/>
                      <a:pt x="57607" y="68489"/>
                    </a:cubicBezTo>
                    <a:lnTo>
                      <a:pt x="67757" y="79370"/>
                    </a:lnTo>
                    <a:cubicBezTo>
                      <a:pt x="65563" y="81382"/>
                      <a:pt x="63551" y="83119"/>
                      <a:pt x="61539" y="84308"/>
                    </a:cubicBezTo>
                    <a:cubicBezTo>
                      <a:pt x="59619" y="85588"/>
                      <a:pt x="57424" y="86685"/>
                      <a:pt x="55138" y="87691"/>
                    </a:cubicBezTo>
                    <a:cubicBezTo>
                      <a:pt x="52852" y="88697"/>
                      <a:pt x="50201" y="89428"/>
                      <a:pt x="47275" y="89977"/>
                    </a:cubicBezTo>
                    <a:cubicBezTo>
                      <a:pt x="44348" y="90526"/>
                      <a:pt x="41148" y="90800"/>
                      <a:pt x="37674"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70" y="70866"/>
                    </a:cubicBezTo>
                    <a:cubicBezTo>
                      <a:pt x="3841" y="67391"/>
                      <a:pt x="2469" y="63642"/>
                      <a:pt x="1463" y="59345"/>
                    </a:cubicBezTo>
                    <a:cubicBezTo>
                      <a:pt x="457" y="55138"/>
                      <a:pt x="0" y="50475"/>
                      <a:pt x="0" y="45446"/>
                    </a:cubicBezTo>
                    <a:cubicBezTo>
                      <a:pt x="0" y="38130"/>
                      <a:pt x="914" y="31547"/>
                      <a:pt x="2835" y="25878"/>
                    </a:cubicBezTo>
                    <a:cubicBezTo>
                      <a:pt x="4664" y="20208"/>
                      <a:pt x="7315" y="15453"/>
                      <a:pt x="10699" y="11613"/>
                    </a:cubicBezTo>
                    <a:cubicBezTo>
                      <a:pt x="14082" y="7772"/>
                      <a:pt x="18014" y="4846"/>
                      <a:pt x="22769" y="2926"/>
                    </a:cubicBezTo>
                    <a:cubicBezTo>
                      <a:pt x="27432" y="914"/>
                      <a:pt x="32644" y="0"/>
                      <a:pt x="38222" y="0"/>
                    </a:cubicBezTo>
                    <a:cubicBezTo>
                      <a:pt x="44440" y="0"/>
                      <a:pt x="49835" y="1189"/>
                      <a:pt x="54407" y="3566"/>
                    </a:cubicBezTo>
                    <a:cubicBezTo>
                      <a:pt x="58979" y="5944"/>
                      <a:pt x="62820" y="9053"/>
                      <a:pt x="65837" y="13076"/>
                    </a:cubicBezTo>
                    <a:cubicBezTo>
                      <a:pt x="68854" y="17008"/>
                      <a:pt x="71140" y="21671"/>
                      <a:pt x="72603" y="26975"/>
                    </a:cubicBezTo>
                    <a:cubicBezTo>
                      <a:pt x="74066" y="32278"/>
                      <a:pt x="74889" y="37856"/>
                      <a:pt x="74889"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1" name="Freeform: Shape 330">
                <a:extLst>
                  <a:ext uri="{FF2B5EF4-FFF2-40B4-BE49-F238E27FC236}">
                    <a16:creationId xmlns:a16="http://schemas.microsoft.com/office/drawing/2014/main" id="{7F04E477-E3C6-4CBD-BC6C-39EEB837A3D6}"/>
                  </a:ext>
                </a:extLst>
              </p:cNvPr>
              <p:cNvSpPr/>
              <p:nvPr/>
            </p:nvSpPr>
            <p:spPr>
              <a:xfrm>
                <a:off x="3530260" y="6065490"/>
                <a:ext cx="64008" cy="82296"/>
              </a:xfrm>
              <a:custGeom>
                <a:avLst/>
                <a:gdLst>
                  <a:gd name="connsiteX0" fmla="*/ 54133 w 64008"/>
                  <a:gd name="connsiteY0" fmla="*/ 51938 h 82296"/>
                  <a:gd name="connsiteX1" fmla="*/ 49743 w 64008"/>
                  <a:gd name="connsiteY1" fmla="*/ 50201 h 82296"/>
                  <a:gd name="connsiteX2" fmla="*/ 45720 w 64008"/>
                  <a:gd name="connsiteY2" fmla="*/ 49195 h 82296"/>
                  <a:gd name="connsiteX3" fmla="*/ 40691 w 64008"/>
                  <a:gd name="connsiteY3" fmla="*/ 48463 h 82296"/>
                  <a:gd name="connsiteX4" fmla="*/ 34290 w 64008"/>
                  <a:gd name="connsiteY4" fmla="*/ 48189 h 82296"/>
                  <a:gd name="connsiteX5" fmla="*/ 21214 w 64008"/>
                  <a:gd name="connsiteY5" fmla="*/ 51664 h 82296"/>
                  <a:gd name="connsiteX6" fmla="*/ 16368 w 64008"/>
                  <a:gd name="connsiteY6" fmla="*/ 61173 h 82296"/>
                  <a:gd name="connsiteX7" fmla="*/ 17739 w 64008"/>
                  <a:gd name="connsiteY7" fmla="*/ 67757 h 82296"/>
                  <a:gd name="connsiteX8" fmla="*/ 21214 w 64008"/>
                  <a:gd name="connsiteY8" fmla="*/ 72146 h 82296"/>
                  <a:gd name="connsiteX9" fmla="*/ 26243 w 64008"/>
                  <a:gd name="connsiteY9" fmla="*/ 74706 h 82296"/>
                  <a:gd name="connsiteX10" fmla="*/ 33193 w 64008"/>
                  <a:gd name="connsiteY10" fmla="*/ 75529 h 82296"/>
                  <a:gd name="connsiteX11" fmla="*/ 39776 w 64008"/>
                  <a:gd name="connsiteY11" fmla="*/ 74524 h 82296"/>
                  <a:gd name="connsiteX12" fmla="*/ 45720 w 64008"/>
                  <a:gd name="connsiteY12" fmla="*/ 71963 h 82296"/>
                  <a:gd name="connsiteX13" fmla="*/ 50658 w 64008"/>
                  <a:gd name="connsiteY13" fmla="*/ 68397 h 82296"/>
                  <a:gd name="connsiteX14" fmla="*/ 54315 w 64008"/>
                  <a:gd name="connsiteY14" fmla="*/ 64374 h 82296"/>
                  <a:gd name="connsiteX15" fmla="*/ 54315 w 64008"/>
                  <a:gd name="connsiteY15" fmla="*/ 51938 h 82296"/>
                  <a:gd name="connsiteX16" fmla="*/ 54133 w 64008"/>
                  <a:gd name="connsiteY16" fmla="*/ 89154 h 82296"/>
                  <a:gd name="connsiteX17" fmla="*/ 54133 w 64008"/>
                  <a:gd name="connsiteY17" fmla="*/ 80559 h 82296"/>
                  <a:gd name="connsiteX18" fmla="*/ 48646 w 64008"/>
                  <a:gd name="connsiteY18" fmla="*/ 85039 h 82296"/>
                  <a:gd name="connsiteX19" fmla="*/ 44074 w 64008"/>
                  <a:gd name="connsiteY19" fmla="*/ 87691 h 82296"/>
                  <a:gd name="connsiteX20" fmla="*/ 38131 w 64008"/>
                  <a:gd name="connsiteY20" fmla="*/ 89977 h 82296"/>
                  <a:gd name="connsiteX21" fmla="*/ 30267 w 64008"/>
                  <a:gd name="connsiteY21" fmla="*/ 90983 h 82296"/>
                  <a:gd name="connsiteX22" fmla="*/ 19568 w 64008"/>
                  <a:gd name="connsiteY22" fmla="*/ 89428 h 82296"/>
                  <a:gd name="connsiteX23" fmla="*/ 9876 w 64008"/>
                  <a:gd name="connsiteY23" fmla="*/ 84308 h 82296"/>
                  <a:gd name="connsiteX24" fmla="*/ 2743 w 64008"/>
                  <a:gd name="connsiteY24" fmla="*/ 75164 h 82296"/>
                  <a:gd name="connsiteX25" fmla="*/ 0 w 64008"/>
                  <a:gd name="connsiteY25" fmla="*/ 61539 h 82296"/>
                  <a:gd name="connsiteX26" fmla="*/ 2652 w 64008"/>
                  <a:gd name="connsiteY26" fmla="*/ 48920 h 82296"/>
                  <a:gd name="connsiteX27" fmla="*/ 9967 w 64008"/>
                  <a:gd name="connsiteY27" fmla="*/ 40142 h 82296"/>
                  <a:gd name="connsiteX28" fmla="*/ 20940 w 64008"/>
                  <a:gd name="connsiteY28" fmla="*/ 35022 h 82296"/>
                  <a:gd name="connsiteX29" fmla="*/ 34656 w 64008"/>
                  <a:gd name="connsiteY29" fmla="*/ 33376 h 82296"/>
                  <a:gd name="connsiteX30" fmla="*/ 46269 w 64008"/>
                  <a:gd name="connsiteY30" fmla="*/ 34290 h 82296"/>
                  <a:gd name="connsiteX31" fmla="*/ 54133 w 64008"/>
                  <a:gd name="connsiteY31" fmla="*/ 36667 h 82296"/>
                  <a:gd name="connsiteX32" fmla="*/ 54133 w 64008"/>
                  <a:gd name="connsiteY32" fmla="*/ 30175 h 82296"/>
                  <a:gd name="connsiteX33" fmla="*/ 49926 w 64008"/>
                  <a:gd name="connsiteY33" fmla="*/ 19202 h 82296"/>
                  <a:gd name="connsiteX34" fmla="*/ 37673 w 64008"/>
                  <a:gd name="connsiteY34" fmla="*/ 15362 h 82296"/>
                  <a:gd name="connsiteX35" fmla="*/ 25512 w 64008"/>
                  <a:gd name="connsiteY35" fmla="*/ 16642 h 82296"/>
                  <a:gd name="connsiteX36" fmla="*/ 14996 w 64008"/>
                  <a:gd name="connsiteY36" fmla="*/ 20757 h 82296"/>
                  <a:gd name="connsiteX37" fmla="*/ 8321 w 64008"/>
                  <a:gd name="connsiteY37" fmla="*/ 7864 h 82296"/>
                  <a:gd name="connsiteX38" fmla="*/ 21763 w 64008"/>
                  <a:gd name="connsiteY38" fmla="*/ 2012 h 82296"/>
                  <a:gd name="connsiteX39" fmla="*/ 38131 w 64008"/>
                  <a:gd name="connsiteY39" fmla="*/ 0 h 82296"/>
                  <a:gd name="connsiteX40" fmla="*/ 51481 w 64008"/>
                  <a:gd name="connsiteY40" fmla="*/ 1737 h 82296"/>
                  <a:gd name="connsiteX41" fmla="*/ 61814 w 64008"/>
                  <a:gd name="connsiteY41" fmla="*/ 7132 h 82296"/>
                  <a:gd name="connsiteX42" fmla="*/ 68488 w 64008"/>
                  <a:gd name="connsiteY42" fmla="*/ 16276 h 82296"/>
                  <a:gd name="connsiteX43" fmla="*/ 70866 w 64008"/>
                  <a:gd name="connsiteY43" fmla="*/ 29169 h 82296"/>
                  <a:gd name="connsiteX44" fmla="*/ 70866 w 64008"/>
                  <a:gd name="connsiteY44" fmla="*/ 88880 h 82296"/>
                  <a:gd name="connsiteX45" fmla="*/ 54133 w 64008"/>
                  <a:gd name="connsiteY45" fmla="*/ 8888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4008" h="82296">
                    <a:moveTo>
                      <a:pt x="54133" y="51938"/>
                    </a:moveTo>
                    <a:cubicBezTo>
                      <a:pt x="52486" y="51206"/>
                      <a:pt x="51024" y="50566"/>
                      <a:pt x="49743" y="50201"/>
                    </a:cubicBezTo>
                    <a:cubicBezTo>
                      <a:pt x="48463" y="49743"/>
                      <a:pt x="47092" y="49469"/>
                      <a:pt x="45720" y="49195"/>
                    </a:cubicBezTo>
                    <a:cubicBezTo>
                      <a:pt x="44348" y="48920"/>
                      <a:pt x="42611" y="48646"/>
                      <a:pt x="40691" y="48463"/>
                    </a:cubicBezTo>
                    <a:cubicBezTo>
                      <a:pt x="38679" y="48280"/>
                      <a:pt x="36576" y="48189"/>
                      <a:pt x="34290" y="48189"/>
                    </a:cubicBezTo>
                    <a:cubicBezTo>
                      <a:pt x="28804" y="48189"/>
                      <a:pt x="24415" y="49378"/>
                      <a:pt x="21214" y="51664"/>
                    </a:cubicBezTo>
                    <a:cubicBezTo>
                      <a:pt x="18014" y="53950"/>
                      <a:pt x="16368" y="57150"/>
                      <a:pt x="16368" y="61173"/>
                    </a:cubicBezTo>
                    <a:cubicBezTo>
                      <a:pt x="16368" y="63734"/>
                      <a:pt x="16825" y="65928"/>
                      <a:pt x="17739" y="67757"/>
                    </a:cubicBezTo>
                    <a:cubicBezTo>
                      <a:pt x="18654" y="69586"/>
                      <a:pt x="19843" y="71049"/>
                      <a:pt x="21214" y="72146"/>
                    </a:cubicBezTo>
                    <a:cubicBezTo>
                      <a:pt x="22586" y="73243"/>
                      <a:pt x="24232" y="74158"/>
                      <a:pt x="26243" y="74706"/>
                    </a:cubicBezTo>
                    <a:cubicBezTo>
                      <a:pt x="28164" y="75255"/>
                      <a:pt x="30450" y="75529"/>
                      <a:pt x="33193" y="75529"/>
                    </a:cubicBezTo>
                    <a:cubicBezTo>
                      <a:pt x="35479" y="75529"/>
                      <a:pt x="37673" y="75255"/>
                      <a:pt x="39776" y="74524"/>
                    </a:cubicBezTo>
                    <a:cubicBezTo>
                      <a:pt x="41880" y="73884"/>
                      <a:pt x="43891" y="73061"/>
                      <a:pt x="45720" y="71963"/>
                    </a:cubicBezTo>
                    <a:cubicBezTo>
                      <a:pt x="47549" y="70866"/>
                      <a:pt x="49195" y="69769"/>
                      <a:pt x="50658" y="68397"/>
                    </a:cubicBezTo>
                    <a:cubicBezTo>
                      <a:pt x="52121" y="67026"/>
                      <a:pt x="53310" y="65745"/>
                      <a:pt x="54315" y="64374"/>
                    </a:cubicBezTo>
                    <a:lnTo>
                      <a:pt x="54315" y="51938"/>
                    </a:lnTo>
                    <a:close/>
                    <a:moveTo>
                      <a:pt x="54133" y="89154"/>
                    </a:moveTo>
                    <a:lnTo>
                      <a:pt x="54133" y="80559"/>
                    </a:lnTo>
                    <a:cubicBezTo>
                      <a:pt x="51938" y="82570"/>
                      <a:pt x="50109" y="84125"/>
                      <a:pt x="48646" y="85039"/>
                    </a:cubicBezTo>
                    <a:cubicBezTo>
                      <a:pt x="47183" y="85954"/>
                      <a:pt x="45628" y="86868"/>
                      <a:pt x="44074" y="87691"/>
                    </a:cubicBezTo>
                    <a:cubicBezTo>
                      <a:pt x="42520" y="88514"/>
                      <a:pt x="40508" y="89245"/>
                      <a:pt x="38131" y="89977"/>
                    </a:cubicBezTo>
                    <a:cubicBezTo>
                      <a:pt x="35753" y="90617"/>
                      <a:pt x="33101" y="90983"/>
                      <a:pt x="30267" y="90983"/>
                    </a:cubicBezTo>
                    <a:cubicBezTo>
                      <a:pt x="26792" y="90983"/>
                      <a:pt x="23226" y="90434"/>
                      <a:pt x="19568" y="89428"/>
                    </a:cubicBezTo>
                    <a:cubicBezTo>
                      <a:pt x="16002" y="88331"/>
                      <a:pt x="12710" y="86685"/>
                      <a:pt x="9876" y="84308"/>
                    </a:cubicBezTo>
                    <a:cubicBezTo>
                      <a:pt x="6950" y="81930"/>
                      <a:pt x="4572" y="78913"/>
                      <a:pt x="2743" y="75164"/>
                    </a:cubicBezTo>
                    <a:cubicBezTo>
                      <a:pt x="914" y="71415"/>
                      <a:pt x="0" y="66934"/>
                      <a:pt x="0" y="61539"/>
                    </a:cubicBezTo>
                    <a:cubicBezTo>
                      <a:pt x="0" y="56693"/>
                      <a:pt x="914" y="52487"/>
                      <a:pt x="2652" y="48920"/>
                    </a:cubicBezTo>
                    <a:cubicBezTo>
                      <a:pt x="4389" y="45354"/>
                      <a:pt x="6858" y="42428"/>
                      <a:pt x="9967" y="40142"/>
                    </a:cubicBezTo>
                    <a:cubicBezTo>
                      <a:pt x="13076" y="37856"/>
                      <a:pt x="16734" y="36119"/>
                      <a:pt x="20940" y="35022"/>
                    </a:cubicBezTo>
                    <a:cubicBezTo>
                      <a:pt x="25146" y="33924"/>
                      <a:pt x="29718" y="33376"/>
                      <a:pt x="34656" y="33376"/>
                    </a:cubicBezTo>
                    <a:cubicBezTo>
                      <a:pt x="39228" y="33376"/>
                      <a:pt x="43068" y="33650"/>
                      <a:pt x="46269" y="34290"/>
                    </a:cubicBezTo>
                    <a:cubicBezTo>
                      <a:pt x="49378" y="34930"/>
                      <a:pt x="52029" y="35662"/>
                      <a:pt x="54133" y="36667"/>
                    </a:cubicBezTo>
                    <a:lnTo>
                      <a:pt x="54133" y="30175"/>
                    </a:lnTo>
                    <a:cubicBezTo>
                      <a:pt x="54133" y="25420"/>
                      <a:pt x="52670" y="21763"/>
                      <a:pt x="49926" y="19202"/>
                    </a:cubicBezTo>
                    <a:cubicBezTo>
                      <a:pt x="47092" y="16642"/>
                      <a:pt x="43068" y="15362"/>
                      <a:pt x="37673" y="15362"/>
                    </a:cubicBezTo>
                    <a:cubicBezTo>
                      <a:pt x="33193" y="15362"/>
                      <a:pt x="29169" y="15819"/>
                      <a:pt x="25512" y="16642"/>
                    </a:cubicBezTo>
                    <a:cubicBezTo>
                      <a:pt x="21854" y="17465"/>
                      <a:pt x="18380" y="18928"/>
                      <a:pt x="14996" y="20757"/>
                    </a:cubicBezTo>
                    <a:lnTo>
                      <a:pt x="8321" y="7864"/>
                    </a:lnTo>
                    <a:cubicBezTo>
                      <a:pt x="12436" y="5304"/>
                      <a:pt x="16916" y="3292"/>
                      <a:pt x="21763" y="2012"/>
                    </a:cubicBezTo>
                    <a:cubicBezTo>
                      <a:pt x="26518" y="640"/>
                      <a:pt x="32004" y="0"/>
                      <a:pt x="38131" y="0"/>
                    </a:cubicBezTo>
                    <a:cubicBezTo>
                      <a:pt x="42977" y="0"/>
                      <a:pt x="47457" y="640"/>
                      <a:pt x="51481" y="1737"/>
                    </a:cubicBezTo>
                    <a:cubicBezTo>
                      <a:pt x="55504" y="2926"/>
                      <a:pt x="58979" y="4755"/>
                      <a:pt x="61814" y="7132"/>
                    </a:cubicBezTo>
                    <a:cubicBezTo>
                      <a:pt x="64648" y="9601"/>
                      <a:pt x="66934" y="12619"/>
                      <a:pt x="68488" y="16276"/>
                    </a:cubicBezTo>
                    <a:cubicBezTo>
                      <a:pt x="70043" y="19934"/>
                      <a:pt x="70866" y="24232"/>
                      <a:pt x="70866" y="29169"/>
                    </a:cubicBezTo>
                    <a:lnTo>
                      <a:pt x="70866" y="88880"/>
                    </a:lnTo>
                    <a:lnTo>
                      <a:pt x="54133" y="88880"/>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2" name="Freeform: Shape 331">
                <a:extLst>
                  <a:ext uri="{FF2B5EF4-FFF2-40B4-BE49-F238E27FC236}">
                    <a16:creationId xmlns:a16="http://schemas.microsoft.com/office/drawing/2014/main" id="{DC4CAE55-DFA3-4DAC-9574-70861E48031D}"/>
                  </a:ext>
                </a:extLst>
              </p:cNvPr>
              <p:cNvSpPr/>
              <p:nvPr/>
            </p:nvSpPr>
            <p:spPr>
              <a:xfrm>
                <a:off x="3622340" y="6065672"/>
                <a:ext cx="64008" cy="82296"/>
              </a:xfrm>
              <a:custGeom>
                <a:avLst/>
                <a:gdLst>
                  <a:gd name="connsiteX0" fmla="*/ 52852 w 64008"/>
                  <a:gd name="connsiteY0" fmla="*/ 88971 h 82296"/>
                  <a:gd name="connsiteX1" fmla="*/ 52852 w 64008"/>
                  <a:gd name="connsiteY1" fmla="*/ 39685 h 82296"/>
                  <a:gd name="connsiteX2" fmla="*/ 48646 w 64008"/>
                  <a:gd name="connsiteY2" fmla="*/ 21854 h 82296"/>
                  <a:gd name="connsiteX3" fmla="*/ 34930 w 64008"/>
                  <a:gd name="connsiteY3" fmla="*/ 15819 h 82296"/>
                  <a:gd name="connsiteX4" fmla="*/ 27340 w 64008"/>
                  <a:gd name="connsiteY4" fmla="*/ 17282 h 82296"/>
                  <a:gd name="connsiteX5" fmla="*/ 21488 w 64008"/>
                  <a:gd name="connsiteY5" fmla="*/ 21854 h 82296"/>
                  <a:gd name="connsiteX6" fmla="*/ 18105 w 64008"/>
                  <a:gd name="connsiteY6" fmla="*/ 29078 h 82296"/>
                  <a:gd name="connsiteX7" fmla="*/ 17099 w 64008"/>
                  <a:gd name="connsiteY7" fmla="*/ 38039 h 82296"/>
                  <a:gd name="connsiteX8" fmla="*/ 17099 w 64008"/>
                  <a:gd name="connsiteY8" fmla="*/ 88971 h 82296"/>
                  <a:gd name="connsiteX9" fmla="*/ 0 w 64008"/>
                  <a:gd name="connsiteY9" fmla="*/ 88971 h 82296"/>
                  <a:gd name="connsiteX10" fmla="*/ 0 w 64008"/>
                  <a:gd name="connsiteY10" fmla="*/ 1920 h 82296"/>
                  <a:gd name="connsiteX11" fmla="*/ 17099 w 64008"/>
                  <a:gd name="connsiteY11" fmla="*/ 1920 h 82296"/>
                  <a:gd name="connsiteX12" fmla="*/ 17099 w 64008"/>
                  <a:gd name="connsiteY12" fmla="*/ 10150 h 82296"/>
                  <a:gd name="connsiteX13" fmla="*/ 21031 w 64008"/>
                  <a:gd name="connsiteY13" fmla="*/ 5944 h 82296"/>
                  <a:gd name="connsiteX14" fmla="*/ 26243 w 64008"/>
                  <a:gd name="connsiteY14" fmla="*/ 2743 h 82296"/>
                  <a:gd name="connsiteX15" fmla="*/ 32278 w 64008"/>
                  <a:gd name="connsiteY15" fmla="*/ 732 h 82296"/>
                  <a:gd name="connsiteX16" fmla="*/ 38954 w 64008"/>
                  <a:gd name="connsiteY16" fmla="*/ 0 h 82296"/>
                  <a:gd name="connsiteX17" fmla="*/ 52578 w 64008"/>
                  <a:gd name="connsiteY17" fmla="*/ 2560 h 82296"/>
                  <a:gd name="connsiteX18" fmla="*/ 62179 w 64008"/>
                  <a:gd name="connsiteY18" fmla="*/ 9876 h 82296"/>
                  <a:gd name="connsiteX19" fmla="*/ 67940 w 64008"/>
                  <a:gd name="connsiteY19" fmla="*/ 21946 h 82296"/>
                  <a:gd name="connsiteX20" fmla="*/ 69860 w 64008"/>
                  <a:gd name="connsiteY20" fmla="*/ 39045 h 82296"/>
                  <a:gd name="connsiteX21" fmla="*/ 69860 w 64008"/>
                  <a:gd name="connsiteY21" fmla="*/ 88971 h 82296"/>
                  <a:gd name="connsiteX22" fmla="*/ 52852 w 64008"/>
                  <a:gd name="connsiteY22" fmla="*/ 88971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82296">
                    <a:moveTo>
                      <a:pt x="52852" y="88971"/>
                    </a:moveTo>
                    <a:lnTo>
                      <a:pt x="52852" y="39685"/>
                    </a:lnTo>
                    <a:cubicBezTo>
                      <a:pt x="52852" y="31821"/>
                      <a:pt x="51481" y="25878"/>
                      <a:pt x="48646" y="21854"/>
                    </a:cubicBezTo>
                    <a:cubicBezTo>
                      <a:pt x="45812" y="17831"/>
                      <a:pt x="41240" y="15819"/>
                      <a:pt x="34930" y="15819"/>
                    </a:cubicBezTo>
                    <a:cubicBezTo>
                      <a:pt x="32187" y="15819"/>
                      <a:pt x="29626" y="16276"/>
                      <a:pt x="27340" y="17282"/>
                    </a:cubicBezTo>
                    <a:cubicBezTo>
                      <a:pt x="25054" y="18288"/>
                      <a:pt x="23043" y="19751"/>
                      <a:pt x="21488" y="21854"/>
                    </a:cubicBezTo>
                    <a:cubicBezTo>
                      <a:pt x="19934" y="23866"/>
                      <a:pt x="18745" y="26335"/>
                      <a:pt x="18105" y="29078"/>
                    </a:cubicBezTo>
                    <a:cubicBezTo>
                      <a:pt x="17374" y="31821"/>
                      <a:pt x="17099" y="34839"/>
                      <a:pt x="17099" y="38039"/>
                    </a:cubicBezTo>
                    <a:lnTo>
                      <a:pt x="17099" y="88971"/>
                    </a:lnTo>
                    <a:lnTo>
                      <a:pt x="0" y="88971"/>
                    </a:lnTo>
                    <a:lnTo>
                      <a:pt x="0" y="1920"/>
                    </a:lnTo>
                    <a:lnTo>
                      <a:pt x="17099" y="1920"/>
                    </a:lnTo>
                    <a:lnTo>
                      <a:pt x="17099" y="10150"/>
                    </a:lnTo>
                    <a:cubicBezTo>
                      <a:pt x="18196" y="8595"/>
                      <a:pt x="19477" y="7132"/>
                      <a:pt x="21031" y="5944"/>
                    </a:cubicBezTo>
                    <a:cubicBezTo>
                      <a:pt x="22586" y="4663"/>
                      <a:pt x="24323" y="3566"/>
                      <a:pt x="26243" y="2743"/>
                    </a:cubicBezTo>
                    <a:cubicBezTo>
                      <a:pt x="28163" y="1920"/>
                      <a:pt x="30175" y="1189"/>
                      <a:pt x="32278" y="732"/>
                    </a:cubicBezTo>
                    <a:cubicBezTo>
                      <a:pt x="34473" y="274"/>
                      <a:pt x="36668" y="0"/>
                      <a:pt x="38954" y="0"/>
                    </a:cubicBezTo>
                    <a:cubicBezTo>
                      <a:pt x="44165" y="0"/>
                      <a:pt x="48737" y="823"/>
                      <a:pt x="52578" y="2560"/>
                    </a:cubicBezTo>
                    <a:cubicBezTo>
                      <a:pt x="56418" y="4298"/>
                      <a:pt x="59619" y="6675"/>
                      <a:pt x="62179" y="9876"/>
                    </a:cubicBezTo>
                    <a:cubicBezTo>
                      <a:pt x="64739" y="13076"/>
                      <a:pt x="66660" y="17099"/>
                      <a:pt x="67940" y="21946"/>
                    </a:cubicBezTo>
                    <a:cubicBezTo>
                      <a:pt x="69220" y="26792"/>
                      <a:pt x="69860" y="32461"/>
                      <a:pt x="69860" y="39045"/>
                    </a:cubicBezTo>
                    <a:lnTo>
                      <a:pt x="69860" y="88971"/>
                    </a:lnTo>
                    <a:lnTo>
                      <a:pt x="52852" y="88971"/>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3" name="Freeform: Shape 332">
                <a:extLst>
                  <a:ext uri="{FF2B5EF4-FFF2-40B4-BE49-F238E27FC236}">
                    <a16:creationId xmlns:a16="http://schemas.microsoft.com/office/drawing/2014/main" id="{D2E19452-4458-4E02-980A-071A63D908C5}"/>
                  </a:ext>
                </a:extLst>
              </p:cNvPr>
              <p:cNvSpPr/>
              <p:nvPr/>
            </p:nvSpPr>
            <p:spPr>
              <a:xfrm>
                <a:off x="3708293" y="6065672"/>
                <a:ext cx="64008" cy="82296"/>
              </a:xfrm>
              <a:custGeom>
                <a:avLst/>
                <a:gdLst>
                  <a:gd name="connsiteX0" fmla="*/ 62636 w 64008"/>
                  <a:gd name="connsiteY0" fmla="*/ 9693 h 82296"/>
                  <a:gd name="connsiteX1" fmla="*/ 55138 w 64008"/>
                  <a:gd name="connsiteY1" fmla="*/ 22860 h 82296"/>
                  <a:gd name="connsiteX2" fmla="*/ 44348 w 64008"/>
                  <a:gd name="connsiteY2" fmla="*/ 17191 h 82296"/>
                  <a:gd name="connsiteX3" fmla="*/ 32644 w 64008"/>
                  <a:gd name="connsiteY3" fmla="*/ 15362 h 82296"/>
                  <a:gd name="connsiteX4" fmla="*/ 23500 w 64008"/>
                  <a:gd name="connsiteY4" fmla="*/ 17556 h 82296"/>
                  <a:gd name="connsiteX5" fmla="*/ 20666 w 64008"/>
                  <a:gd name="connsiteY5" fmla="*/ 23226 h 82296"/>
                  <a:gd name="connsiteX6" fmla="*/ 21397 w 64008"/>
                  <a:gd name="connsiteY6" fmla="*/ 26335 h 82296"/>
                  <a:gd name="connsiteX7" fmla="*/ 23866 w 64008"/>
                  <a:gd name="connsiteY7" fmla="*/ 29261 h 82296"/>
                  <a:gd name="connsiteX8" fmla="*/ 28804 w 64008"/>
                  <a:gd name="connsiteY8" fmla="*/ 32370 h 82296"/>
                  <a:gd name="connsiteX9" fmla="*/ 36850 w 64008"/>
                  <a:gd name="connsiteY9" fmla="*/ 35936 h 82296"/>
                  <a:gd name="connsiteX10" fmla="*/ 49561 w 64008"/>
                  <a:gd name="connsiteY10" fmla="*/ 41331 h 82296"/>
                  <a:gd name="connsiteX11" fmla="*/ 58705 w 64008"/>
                  <a:gd name="connsiteY11" fmla="*/ 47092 h 82296"/>
                  <a:gd name="connsiteX12" fmla="*/ 64282 w 64008"/>
                  <a:gd name="connsiteY12" fmla="*/ 54590 h 82296"/>
                  <a:gd name="connsiteX13" fmla="*/ 66111 w 64008"/>
                  <a:gd name="connsiteY13" fmla="*/ 65014 h 82296"/>
                  <a:gd name="connsiteX14" fmla="*/ 63368 w 64008"/>
                  <a:gd name="connsiteY14" fmla="*/ 77175 h 82296"/>
                  <a:gd name="connsiteX15" fmla="*/ 56144 w 64008"/>
                  <a:gd name="connsiteY15" fmla="*/ 85131 h 82296"/>
                  <a:gd name="connsiteX16" fmla="*/ 45720 w 64008"/>
                  <a:gd name="connsiteY16" fmla="*/ 89428 h 82296"/>
                  <a:gd name="connsiteX17" fmla="*/ 33376 w 64008"/>
                  <a:gd name="connsiteY17" fmla="*/ 90708 h 82296"/>
                  <a:gd name="connsiteX18" fmla="*/ 16002 w 64008"/>
                  <a:gd name="connsiteY18" fmla="*/ 87691 h 82296"/>
                  <a:gd name="connsiteX19" fmla="*/ 0 w 64008"/>
                  <a:gd name="connsiteY19" fmla="*/ 79553 h 82296"/>
                  <a:gd name="connsiteX20" fmla="*/ 7772 w 64008"/>
                  <a:gd name="connsiteY20" fmla="*/ 66660 h 82296"/>
                  <a:gd name="connsiteX21" fmla="*/ 20482 w 64008"/>
                  <a:gd name="connsiteY21" fmla="*/ 73061 h 82296"/>
                  <a:gd name="connsiteX22" fmla="*/ 33193 w 64008"/>
                  <a:gd name="connsiteY22" fmla="*/ 75255 h 82296"/>
                  <a:gd name="connsiteX23" fmla="*/ 45171 w 64008"/>
                  <a:gd name="connsiteY23" fmla="*/ 72786 h 82296"/>
                  <a:gd name="connsiteX24" fmla="*/ 49103 w 64008"/>
                  <a:gd name="connsiteY24" fmla="*/ 65654 h 82296"/>
                  <a:gd name="connsiteX25" fmla="*/ 47732 w 64008"/>
                  <a:gd name="connsiteY25" fmla="*/ 61265 h 82296"/>
                  <a:gd name="connsiteX26" fmla="*/ 43708 w 64008"/>
                  <a:gd name="connsiteY26" fmla="*/ 57699 h 82296"/>
                  <a:gd name="connsiteX27" fmla="*/ 37399 w 64008"/>
                  <a:gd name="connsiteY27" fmla="*/ 54498 h 82296"/>
                  <a:gd name="connsiteX28" fmla="*/ 28987 w 64008"/>
                  <a:gd name="connsiteY28" fmla="*/ 51115 h 82296"/>
                  <a:gd name="connsiteX29" fmla="*/ 17008 w 64008"/>
                  <a:gd name="connsiteY29" fmla="*/ 45720 h 82296"/>
                  <a:gd name="connsiteX30" fmla="*/ 9052 w 64008"/>
                  <a:gd name="connsiteY30" fmla="*/ 39868 h 82296"/>
                  <a:gd name="connsiteX31" fmla="*/ 4664 w 64008"/>
                  <a:gd name="connsiteY31" fmla="*/ 32827 h 82296"/>
                  <a:gd name="connsiteX32" fmla="*/ 3292 w 64008"/>
                  <a:gd name="connsiteY32" fmla="*/ 23774 h 82296"/>
                  <a:gd name="connsiteX33" fmla="*/ 5486 w 64008"/>
                  <a:gd name="connsiteY33" fmla="*/ 13442 h 82296"/>
                  <a:gd name="connsiteX34" fmla="*/ 11613 w 64008"/>
                  <a:gd name="connsiteY34" fmla="*/ 6035 h 82296"/>
                  <a:gd name="connsiteX35" fmla="*/ 21031 w 64008"/>
                  <a:gd name="connsiteY35" fmla="*/ 1554 h 82296"/>
                  <a:gd name="connsiteX36" fmla="*/ 33010 w 64008"/>
                  <a:gd name="connsiteY36" fmla="*/ 0 h 82296"/>
                  <a:gd name="connsiteX37" fmla="*/ 49012 w 64008"/>
                  <a:gd name="connsiteY37" fmla="*/ 2652 h 82296"/>
                  <a:gd name="connsiteX38" fmla="*/ 62636 w 64008"/>
                  <a:gd name="connsiteY38" fmla="*/ 9693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4008" h="82296">
                    <a:moveTo>
                      <a:pt x="62636" y="9693"/>
                    </a:moveTo>
                    <a:lnTo>
                      <a:pt x="55138" y="22860"/>
                    </a:lnTo>
                    <a:cubicBezTo>
                      <a:pt x="51572" y="20300"/>
                      <a:pt x="48006" y="18471"/>
                      <a:pt x="44348" y="17191"/>
                    </a:cubicBezTo>
                    <a:cubicBezTo>
                      <a:pt x="40691" y="16002"/>
                      <a:pt x="36759" y="15362"/>
                      <a:pt x="32644" y="15362"/>
                    </a:cubicBezTo>
                    <a:cubicBezTo>
                      <a:pt x="28438" y="15362"/>
                      <a:pt x="25420" y="16093"/>
                      <a:pt x="23500" y="17556"/>
                    </a:cubicBezTo>
                    <a:cubicBezTo>
                      <a:pt x="21580" y="19020"/>
                      <a:pt x="20666" y="20940"/>
                      <a:pt x="20666" y="23226"/>
                    </a:cubicBezTo>
                    <a:cubicBezTo>
                      <a:pt x="20666" y="24323"/>
                      <a:pt x="20940" y="25329"/>
                      <a:pt x="21397" y="26335"/>
                    </a:cubicBezTo>
                    <a:cubicBezTo>
                      <a:pt x="21854" y="27341"/>
                      <a:pt x="22677" y="28255"/>
                      <a:pt x="23866" y="29261"/>
                    </a:cubicBezTo>
                    <a:cubicBezTo>
                      <a:pt x="25054" y="30267"/>
                      <a:pt x="26701" y="31272"/>
                      <a:pt x="28804" y="32370"/>
                    </a:cubicBezTo>
                    <a:cubicBezTo>
                      <a:pt x="30907" y="33467"/>
                      <a:pt x="33559" y="34656"/>
                      <a:pt x="36850" y="35936"/>
                    </a:cubicBezTo>
                    <a:cubicBezTo>
                      <a:pt x="41697" y="37856"/>
                      <a:pt x="45994" y="39685"/>
                      <a:pt x="49561" y="41331"/>
                    </a:cubicBezTo>
                    <a:cubicBezTo>
                      <a:pt x="53218" y="43068"/>
                      <a:pt x="56236" y="44988"/>
                      <a:pt x="58705" y="47092"/>
                    </a:cubicBezTo>
                    <a:cubicBezTo>
                      <a:pt x="61173" y="49195"/>
                      <a:pt x="63002" y="51755"/>
                      <a:pt x="64282" y="54590"/>
                    </a:cubicBezTo>
                    <a:cubicBezTo>
                      <a:pt x="65563" y="57424"/>
                      <a:pt x="66111" y="60899"/>
                      <a:pt x="66111" y="65014"/>
                    </a:cubicBezTo>
                    <a:cubicBezTo>
                      <a:pt x="66111" y="69860"/>
                      <a:pt x="65197" y="73884"/>
                      <a:pt x="63368" y="77175"/>
                    </a:cubicBezTo>
                    <a:cubicBezTo>
                      <a:pt x="61539" y="80467"/>
                      <a:pt x="59162" y="83119"/>
                      <a:pt x="56144" y="85131"/>
                    </a:cubicBezTo>
                    <a:cubicBezTo>
                      <a:pt x="53127" y="87142"/>
                      <a:pt x="49652" y="88605"/>
                      <a:pt x="45720" y="89428"/>
                    </a:cubicBezTo>
                    <a:cubicBezTo>
                      <a:pt x="41788" y="90251"/>
                      <a:pt x="37673" y="90708"/>
                      <a:pt x="33376" y="90708"/>
                    </a:cubicBezTo>
                    <a:cubicBezTo>
                      <a:pt x="27889" y="90708"/>
                      <a:pt x="22037" y="89703"/>
                      <a:pt x="16002" y="87691"/>
                    </a:cubicBezTo>
                    <a:cubicBezTo>
                      <a:pt x="9875" y="85679"/>
                      <a:pt x="4572" y="82936"/>
                      <a:pt x="0" y="79553"/>
                    </a:cubicBezTo>
                    <a:lnTo>
                      <a:pt x="7772" y="66660"/>
                    </a:lnTo>
                    <a:cubicBezTo>
                      <a:pt x="11887" y="69494"/>
                      <a:pt x="16094" y="71598"/>
                      <a:pt x="20482" y="73061"/>
                    </a:cubicBezTo>
                    <a:cubicBezTo>
                      <a:pt x="24872" y="74524"/>
                      <a:pt x="29078" y="75255"/>
                      <a:pt x="33193" y="75255"/>
                    </a:cubicBezTo>
                    <a:cubicBezTo>
                      <a:pt x="38588" y="75255"/>
                      <a:pt x="42611" y="74432"/>
                      <a:pt x="45171" y="72786"/>
                    </a:cubicBezTo>
                    <a:cubicBezTo>
                      <a:pt x="47732" y="71140"/>
                      <a:pt x="49103" y="68763"/>
                      <a:pt x="49103" y="65654"/>
                    </a:cubicBezTo>
                    <a:cubicBezTo>
                      <a:pt x="49103" y="64008"/>
                      <a:pt x="48646" y="62545"/>
                      <a:pt x="47732" y="61265"/>
                    </a:cubicBezTo>
                    <a:cubicBezTo>
                      <a:pt x="46817" y="59985"/>
                      <a:pt x="45446" y="58796"/>
                      <a:pt x="43708" y="57699"/>
                    </a:cubicBezTo>
                    <a:cubicBezTo>
                      <a:pt x="41971" y="56601"/>
                      <a:pt x="39868" y="55504"/>
                      <a:pt x="37399" y="54498"/>
                    </a:cubicBezTo>
                    <a:cubicBezTo>
                      <a:pt x="34930" y="53401"/>
                      <a:pt x="32096" y="52304"/>
                      <a:pt x="28987" y="51115"/>
                    </a:cubicBezTo>
                    <a:cubicBezTo>
                      <a:pt x="24323" y="49286"/>
                      <a:pt x="20300" y="47457"/>
                      <a:pt x="17008" y="45720"/>
                    </a:cubicBezTo>
                    <a:cubicBezTo>
                      <a:pt x="13716" y="43983"/>
                      <a:pt x="11064" y="41971"/>
                      <a:pt x="9052" y="39868"/>
                    </a:cubicBezTo>
                    <a:cubicBezTo>
                      <a:pt x="7041" y="37765"/>
                      <a:pt x="5578" y="35387"/>
                      <a:pt x="4664" y="32827"/>
                    </a:cubicBezTo>
                    <a:cubicBezTo>
                      <a:pt x="3749" y="30267"/>
                      <a:pt x="3292" y="27249"/>
                      <a:pt x="3292" y="23774"/>
                    </a:cubicBezTo>
                    <a:cubicBezTo>
                      <a:pt x="3292" y="19934"/>
                      <a:pt x="4023" y="16459"/>
                      <a:pt x="5486" y="13442"/>
                    </a:cubicBezTo>
                    <a:cubicBezTo>
                      <a:pt x="6950" y="10516"/>
                      <a:pt x="8961" y="8047"/>
                      <a:pt x="11613" y="6035"/>
                    </a:cubicBezTo>
                    <a:cubicBezTo>
                      <a:pt x="14265" y="4023"/>
                      <a:pt x="17374" y="2560"/>
                      <a:pt x="21031" y="1554"/>
                    </a:cubicBezTo>
                    <a:cubicBezTo>
                      <a:pt x="24689" y="549"/>
                      <a:pt x="28621" y="0"/>
                      <a:pt x="33010" y="0"/>
                    </a:cubicBezTo>
                    <a:cubicBezTo>
                      <a:pt x="38496" y="0"/>
                      <a:pt x="43800" y="914"/>
                      <a:pt x="49012" y="2652"/>
                    </a:cubicBezTo>
                    <a:cubicBezTo>
                      <a:pt x="54224" y="4481"/>
                      <a:pt x="58705" y="6767"/>
                      <a:pt x="62636" y="9693"/>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334" name="Freeform: Shape 333">
              <a:extLst>
                <a:ext uri="{FF2B5EF4-FFF2-40B4-BE49-F238E27FC236}">
                  <a16:creationId xmlns:a16="http://schemas.microsoft.com/office/drawing/2014/main" id="{41B04350-F8D3-4100-8101-973654699DA1}"/>
                </a:ext>
              </a:extLst>
            </p:cNvPr>
            <p:cNvSpPr/>
            <p:nvPr/>
          </p:nvSpPr>
          <p:spPr>
            <a:xfrm>
              <a:off x="3782908" y="6067593"/>
              <a:ext cx="100584" cy="82296"/>
            </a:xfrm>
            <a:custGeom>
              <a:avLst/>
              <a:gdLst>
                <a:gd name="connsiteX0" fmla="*/ 85405 w 100584"/>
                <a:gd name="connsiteY0" fmla="*/ 87051 h 82296"/>
                <a:gd name="connsiteX1" fmla="*/ 70774 w 100584"/>
                <a:gd name="connsiteY1" fmla="*/ 87051 h 82296"/>
                <a:gd name="connsiteX2" fmla="*/ 54590 w 100584"/>
                <a:gd name="connsiteY2" fmla="*/ 26152 h 82296"/>
                <a:gd name="connsiteX3" fmla="*/ 38405 w 100584"/>
                <a:gd name="connsiteY3" fmla="*/ 87051 h 82296"/>
                <a:gd name="connsiteX4" fmla="*/ 23866 w 100584"/>
                <a:gd name="connsiteY4" fmla="*/ 87051 h 82296"/>
                <a:gd name="connsiteX5" fmla="*/ 0 w 100584"/>
                <a:gd name="connsiteY5" fmla="*/ 0 h 82296"/>
                <a:gd name="connsiteX6" fmla="*/ 16916 w 100584"/>
                <a:gd name="connsiteY6" fmla="*/ 0 h 82296"/>
                <a:gd name="connsiteX7" fmla="*/ 31455 w 100584"/>
                <a:gd name="connsiteY7" fmla="*/ 59710 h 82296"/>
                <a:gd name="connsiteX8" fmla="*/ 47914 w 100584"/>
                <a:gd name="connsiteY8" fmla="*/ 0 h 82296"/>
                <a:gd name="connsiteX9" fmla="*/ 61722 w 100584"/>
                <a:gd name="connsiteY9" fmla="*/ 0 h 82296"/>
                <a:gd name="connsiteX10" fmla="*/ 78181 w 100584"/>
                <a:gd name="connsiteY10" fmla="*/ 59710 h 82296"/>
                <a:gd name="connsiteX11" fmla="*/ 92720 w 100584"/>
                <a:gd name="connsiteY11" fmla="*/ 0 h 82296"/>
                <a:gd name="connsiteX12" fmla="*/ 109636 w 100584"/>
                <a:gd name="connsiteY12" fmla="*/ 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584" h="82296">
                  <a:moveTo>
                    <a:pt x="85405" y="87051"/>
                  </a:moveTo>
                  <a:lnTo>
                    <a:pt x="70774" y="87051"/>
                  </a:lnTo>
                  <a:lnTo>
                    <a:pt x="54590" y="26152"/>
                  </a:lnTo>
                  <a:lnTo>
                    <a:pt x="38405" y="87051"/>
                  </a:lnTo>
                  <a:lnTo>
                    <a:pt x="23866" y="87051"/>
                  </a:lnTo>
                  <a:lnTo>
                    <a:pt x="0" y="0"/>
                  </a:lnTo>
                  <a:lnTo>
                    <a:pt x="16916" y="0"/>
                  </a:lnTo>
                  <a:lnTo>
                    <a:pt x="31455" y="59710"/>
                  </a:lnTo>
                  <a:lnTo>
                    <a:pt x="47914" y="0"/>
                  </a:lnTo>
                  <a:lnTo>
                    <a:pt x="61722" y="0"/>
                  </a:lnTo>
                  <a:lnTo>
                    <a:pt x="78181" y="59710"/>
                  </a:lnTo>
                  <a:lnTo>
                    <a:pt x="92720" y="0"/>
                  </a:lnTo>
                  <a:lnTo>
                    <a:pt x="109636"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335" name="Graphic 2">
              <a:extLst>
                <a:ext uri="{FF2B5EF4-FFF2-40B4-BE49-F238E27FC236}">
                  <a16:creationId xmlns:a16="http://schemas.microsoft.com/office/drawing/2014/main" id="{69916B0C-9B62-4073-A26B-3F4B3A5DFA66}"/>
                </a:ext>
              </a:extLst>
            </p:cNvPr>
            <p:cNvGrpSpPr/>
            <p:nvPr/>
          </p:nvGrpSpPr>
          <p:grpSpPr>
            <a:xfrm>
              <a:off x="3901232" y="6065581"/>
              <a:ext cx="155448" cy="82296"/>
              <a:chOff x="3901232" y="6065581"/>
              <a:chExt cx="155448" cy="82296"/>
            </a:xfrm>
            <a:solidFill>
              <a:srgbClr val="FFFFFF"/>
            </a:solidFill>
          </p:grpSpPr>
          <p:sp>
            <p:nvSpPr>
              <p:cNvPr id="336" name="Freeform: Shape 335">
                <a:extLst>
                  <a:ext uri="{FF2B5EF4-FFF2-40B4-BE49-F238E27FC236}">
                    <a16:creationId xmlns:a16="http://schemas.microsoft.com/office/drawing/2014/main" id="{879EE7A0-77C1-48E1-B1DF-D548DD55326E}"/>
                  </a:ext>
                </a:extLst>
              </p:cNvPr>
              <p:cNvSpPr/>
              <p:nvPr/>
            </p:nvSpPr>
            <p:spPr>
              <a:xfrm>
                <a:off x="3901232" y="6065581"/>
                <a:ext cx="73152" cy="82296"/>
              </a:xfrm>
              <a:custGeom>
                <a:avLst/>
                <a:gdLst>
                  <a:gd name="connsiteX0" fmla="*/ 57699 w 73152"/>
                  <a:gd name="connsiteY0" fmla="*/ 37490 h 82296"/>
                  <a:gd name="connsiteX1" fmla="*/ 56144 w 73152"/>
                  <a:gd name="connsiteY1" fmla="*/ 29078 h 82296"/>
                  <a:gd name="connsiteX2" fmla="*/ 52395 w 73152"/>
                  <a:gd name="connsiteY2" fmla="*/ 22128 h 82296"/>
                  <a:gd name="connsiteX3" fmla="*/ 46177 w 73152"/>
                  <a:gd name="connsiteY3" fmla="*/ 17374 h 82296"/>
                  <a:gd name="connsiteX4" fmla="*/ 37125 w 73152"/>
                  <a:gd name="connsiteY4" fmla="*/ 15636 h 82296"/>
                  <a:gd name="connsiteX5" fmla="*/ 29169 w 73152"/>
                  <a:gd name="connsiteY5" fmla="*/ 17099 h 82296"/>
                  <a:gd name="connsiteX6" fmla="*/ 23317 w 73152"/>
                  <a:gd name="connsiteY6" fmla="*/ 21397 h 82296"/>
                  <a:gd name="connsiteX7" fmla="*/ 19294 w 73152"/>
                  <a:gd name="connsiteY7" fmla="*/ 28164 h 82296"/>
                  <a:gd name="connsiteX8" fmla="*/ 17191 w 73152"/>
                  <a:gd name="connsiteY8" fmla="*/ 37490 h 82296"/>
                  <a:gd name="connsiteX9" fmla="*/ 57699 w 73152"/>
                  <a:gd name="connsiteY9" fmla="*/ 37490 h 82296"/>
                  <a:gd name="connsiteX10" fmla="*/ 74889 w 73152"/>
                  <a:gd name="connsiteY10" fmla="*/ 43800 h 82296"/>
                  <a:gd name="connsiteX11" fmla="*/ 74706 w 73152"/>
                  <a:gd name="connsiteY11" fmla="*/ 48189 h 82296"/>
                  <a:gd name="connsiteX12" fmla="*/ 74341 w 73152"/>
                  <a:gd name="connsiteY12" fmla="*/ 51572 h 82296"/>
                  <a:gd name="connsiteX13" fmla="*/ 16733 w 73152"/>
                  <a:gd name="connsiteY13" fmla="*/ 51572 h 82296"/>
                  <a:gd name="connsiteX14" fmla="*/ 19477 w 73152"/>
                  <a:gd name="connsiteY14" fmla="*/ 62362 h 82296"/>
                  <a:gd name="connsiteX15" fmla="*/ 24414 w 73152"/>
                  <a:gd name="connsiteY15" fmla="*/ 69769 h 82296"/>
                  <a:gd name="connsiteX16" fmla="*/ 30998 w 73152"/>
                  <a:gd name="connsiteY16" fmla="*/ 74066 h 82296"/>
                  <a:gd name="connsiteX17" fmla="*/ 38679 w 73152"/>
                  <a:gd name="connsiteY17" fmla="*/ 75438 h 82296"/>
                  <a:gd name="connsiteX18" fmla="*/ 43983 w 73152"/>
                  <a:gd name="connsiteY18" fmla="*/ 74981 h 82296"/>
                  <a:gd name="connsiteX19" fmla="*/ 48829 w 73152"/>
                  <a:gd name="connsiteY19" fmla="*/ 73518 h 82296"/>
                  <a:gd name="connsiteX20" fmla="*/ 52944 w 73152"/>
                  <a:gd name="connsiteY20" fmla="*/ 71506 h 82296"/>
                  <a:gd name="connsiteX21" fmla="*/ 57607 w 73152"/>
                  <a:gd name="connsiteY21" fmla="*/ 68489 h 82296"/>
                  <a:gd name="connsiteX22" fmla="*/ 67757 w 73152"/>
                  <a:gd name="connsiteY22" fmla="*/ 79370 h 82296"/>
                  <a:gd name="connsiteX23" fmla="*/ 61539 w 73152"/>
                  <a:gd name="connsiteY23" fmla="*/ 84308 h 82296"/>
                  <a:gd name="connsiteX24" fmla="*/ 55138 w 73152"/>
                  <a:gd name="connsiteY24" fmla="*/ 87691 h 82296"/>
                  <a:gd name="connsiteX25" fmla="*/ 47274 w 73152"/>
                  <a:gd name="connsiteY25" fmla="*/ 89977 h 82296"/>
                  <a:gd name="connsiteX26" fmla="*/ 37673 w 73152"/>
                  <a:gd name="connsiteY26" fmla="*/ 90800 h 82296"/>
                  <a:gd name="connsiteX27" fmla="*/ 27066 w 73152"/>
                  <a:gd name="connsiteY27" fmla="*/ 89245 h 82296"/>
                  <a:gd name="connsiteX28" fmla="*/ 18288 w 73152"/>
                  <a:gd name="connsiteY28" fmla="*/ 85131 h 82296"/>
                  <a:gd name="connsiteX29" fmla="*/ 11430 w 73152"/>
                  <a:gd name="connsiteY29" fmla="*/ 79278 h 82296"/>
                  <a:gd name="connsiteX30" fmla="*/ 5669 w 73152"/>
                  <a:gd name="connsiteY30" fmla="*/ 70866 h 82296"/>
                  <a:gd name="connsiteX31" fmla="*/ 1463 w 73152"/>
                  <a:gd name="connsiteY31" fmla="*/ 59345 h 82296"/>
                  <a:gd name="connsiteX32" fmla="*/ 0 w 73152"/>
                  <a:gd name="connsiteY32" fmla="*/ 45446 h 82296"/>
                  <a:gd name="connsiteX33" fmla="*/ 2835 w 73152"/>
                  <a:gd name="connsiteY33" fmla="*/ 25878 h 82296"/>
                  <a:gd name="connsiteX34" fmla="*/ 10698 w 73152"/>
                  <a:gd name="connsiteY34" fmla="*/ 11613 h 82296"/>
                  <a:gd name="connsiteX35" fmla="*/ 22768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03 w 73152"/>
                  <a:gd name="connsiteY39" fmla="*/ 26975 h 82296"/>
                  <a:gd name="connsiteX40" fmla="*/ 74889 w 73152"/>
                  <a:gd name="connsiteY40" fmla="*/ 4380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99" y="37490"/>
                    </a:moveTo>
                    <a:cubicBezTo>
                      <a:pt x="57516" y="34564"/>
                      <a:pt x="56967" y="31730"/>
                      <a:pt x="56144" y="29078"/>
                    </a:cubicBezTo>
                    <a:cubicBezTo>
                      <a:pt x="55321" y="26426"/>
                      <a:pt x="54041" y="24140"/>
                      <a:pt x="52395" y="22128"/>
                    </a:cubicBezTo>
                    <a:cubicBezTo>
                      <a:pt x="50749" y="20117"/>
                      <a:pt x="48646" y="18562"/>
                      <a:pt x="46177" y="17374"/>
                    </a:cubicBezTo>
                    <a:cubicBezTo>
                      <a:pt x="43708" y="16185"/>
                      <a:pt x="40691" y="15636"/>
                      <a:pt x="37125" y="15636"/>
                    </a:cubicBezTo>
                    <a:cubicBezTo>
                      <a:pt x="34107" y="15636"/>
                      <a:pt x="31455" y="16093"/>
                      <a:pt x="29169" y="17099"/>
                    </a:cubicBezTo>
                    <a:cubicBezTo>
                      <a:pt x="26883" y="18105"/>
                      <a:pt x="24963" y="19477"/>
                      <a:pt x="23317" y="21397"/>
                    </a:cubicBezTo>
                    <a:cubicBezTo>
                      <a:pt x="21671" y="23226"/>
                      <a:pt x="20391" y="25512"/>
                      <a:pt x="19294" y="28164"/>
                    </a:cubicBezTo>
                    <a:cubicBezTo>
                      <a:pt x="18196" y="30815"/>
                      <a:pt x="17556" y="33924"/>
                      <a:pt x="17191" y="37490"/>
                    </a:cubicBezTo>
                    <a:lnTo>
                      <a:pt x="57699" y="37490"/>
                    </a:lnTo>
                    <a:close/>
                    <a:moveTo>
                      <a:pt x="74889" y="43800"/>
                    </a:moveTo>
                    <a:cubicBezTo>
                      <a:pt x="74889" y="45354"/>
                      <a:pt x="74798" y="46817"/>
                      <a:pt x="74706" y="48189"/>
                    </a:cubicBezTo>
                    <a:cubicBezTo>
                      <a:pt x="74615" y="49560"/>
                      <a:pt x="74524" y="50658"/>
                      <a:pt x="74341" y="51572"/>
                    </a:cubicBezTo>
                    <a:lnTo>
                      <a:pt x="16733" y="51572"/>
                    </a:lnTo>
                    <a:cubicBezTo>
                      <a:pt x="17191" y="55778"/>
                      <a:pt x="18105" y="59345"/>
                      <a:pt x="19477" y="62362"/>
                    </a:cubicBezTo>
                    <a:cubicBezTo>
                      <a:pt x="20848" y="65380"/>
                      <a:pt x="22494" y="67848"/>
                      <a:pt x="24414" y="69769"/>
                    </a:cubicBezTo>
                    <a:cubicBezTo>
                      <a:pt x="26335" y="71689"/>
                      <a:pt x="28529" y="73152"/>
                      <a:pt x="30998" y="74066"/>
                    </a:cubicBezTo>
                    <a:cubicBezTo>
                      <a:pt x="33467" y="74981"/>
                      <a:pt x="36027" y="75438"/>
                      <a:pt x="38679" y="75438"/>
                    </a:cubicBezTo>
                    <a:cubicBezTo>
                      <a:pt x="40599" y="75438"/>
                      <a:pt x="42337" y="75255"/>
                      <a:pt x="43983" y="74981"/>
                    </a:cubicBezTo>
                    <a:cubicBezTo>
                      <a:pt x="45628" y="74615"/>
                      <a:pt x="47274" y="74158"/>
                      <a:pt x="48829" y="73518"/>
                    </a:cubicBezTo>
                    <a:cubicBezTo>
                      <a:pt x="50384" y="72878"/>
                      <a:pt x="51755" y="72238"/>
                      <a:pt x="52944" y="71506"/>
                    </a:cubicBezTo>
                    <a:cubicBezTo>
                      <a:pt x="54132" y="70866"/>
                      <a:pt x="55687" y="69769"/>
                      <a:pt x="57607" y="68489"/>
                    </a:cubicBezTo>
                    <a:lnTo>
                      <a:pt x="67757" y="79370"/>
                    </a:lnTo>
                    <a:cubicBezTo>
                      <a:pt x="65562" y="81382"/>
                      <a:pt x="63551" y="83119"/>
                      <a:pt x="61539" y="84308"/>
                    </a:cubicBezTo>
                    <a:cubicBezTo>
                      <a:pt x="59619" y="85588"/>
                      <a:pt x="57424" y="86685"/>
                      <a:pt x="55138" y="87691"/>
                    </a:cubicBezTo>
                    <a:cubicBezTo>
                      <a:pt x="52852" y="88697"/>
                      <a:pt x="50200" y="89428"/>
                      <a:pt x="47274" y="89977"/>
                    </a:cubicBezTo>
                    <a:cubicBezTo>
                      <a:pt x="44348" y="90526"/>
                      <a:pt x="41148" y="90800"/>
                      <a:pt x="37673" y="90800"/>
                    </a:cubicBezTo>
                    <a:cubicBezTo>
                      <a:pt x="33924" y="90800"/>
                      <a:pt x="30358" y="90251"/>
                      <a:pt x="27066" y="89245"/>
                    </a:cubicBezTo>
                    <a:cubicBezTo>
                      <a:pt x="23774" y="88148"/>
                      <a:pt x="20848" y="86777"/>
                      <a:pt x="18288" y="85131"/>
                    </a:cubicBezTo>
                    <a:cubicBezTo>
                      <a:pt x="15728" y="83393"/>
                      <a:pt x="13442" y="81473"/>
                      <a:pt x="11430" y="79278"/>
                    </a:cubicBezTo>
                    <a:cubicBezTo>
                      <a:pt x="9418" y="77084"/>
                      <a:pt x="7498" y="74249"/>
                      <a:pt x="5669" y="70866"/>
                    </a:cubicBezTo>
                    <a:cubicBezTo>
                      <a:pt x="3840" y="67391"/>
                      <a:pt x="2469" y="63642"/>
                      <a:pt x="1463" y="59345"/>
                    </a:cubicBezTo>
                    <a:cubicBezTo>
                      <a:pt x="457" y="55138"/>
                      <a:pt x="0" y="50475"/>
                      <a:pt x="0" y="45446"/>
                    </a:cubicBezTo>
                    <a:cubicBezTo>
                      <a:pt x="0" y="38130"/>
                      <a:pt x="914" y="31547"/>
                      <a:pt x="2835" y="25878"/>
                    </a:cubicBezTo>
                    <a:cubicBezTo>
                      <a:pt x="4664" y="20208"/>
                      <a:pt x="7315" y="15453"/>
                      <a:pt x="10698" y="11613"/>
                    </a:cubicBezTo>
                    <a:cubicBezTo>
                      <a:pt x="14082" y="7772"/>
                      <a:pt x="18014" y="4846"/>
                      <a:pt x="22768"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03" y="26975"/>
                    </a:cubicBezTo>
                    <a:cubicBezTo>
                      <a:pt x="74158" y="32278"/>
                      <a:pt x="74889" y="37856"/>
                      <a:pt x="74889" y="43800"/>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7" name="Freeform: Shape 336">
                <a:extLst>
                  <a:ext uri="{FF2B5EF4-FFF2-40B4-BE49-F238E27FC236}">
                    <a16:creationId xmlns:a16="http://schemas.microsoft.com/office/drawing/2014/main" id="{C95C6CD7-97FA-4CF9-9B49-DDAF74D620A0}"/>
                  </a:ext>
                </a:extLst>
              </p:cNvPr>
              <p:cNvSpPr/>
              <p:nvPr/>
            </p:nvSpPr>
            <p:spPr>
              <a:xfrm>
                <a:off x="3994135" y="6065581"/>
                <a:ext cx="45720" cy="82296"/>
              </a:xfrm>
              <a:custGeom>
                <a:avLst/>
                <a:gdLst>
                  <a:gd name="connsiteX0" fmla="*/ 47183 w 45720"/>
                  <a:gd name="connsiteY0" fmla="*/ 20025 h 82296"/>
                  <a:gd name="connsiteX1" fmla="*/ 41422 w 45720"/>
                  <a:gd name="connsiteY1" fmla="*/ 17648 h 82296"/>
                  <a:gd name="connsiteX2" fmla="*/ 34198 w 45720"/>
                  <a:gd name="connsiteY2" fmla="*/ 16825 h 82296"/>
                  <a:gd name="connsiteX3" fmla="*/ 21580 w 45720"/>
                  <a:gd name="connsiteY3" fmla="*/ 22403 h 82296"/>
                  <a:gd name="connsiteX4" fmla="*/ 17099 w 45720"/>
                  <a:gd name="connsiteY4" fmla="*/ 39228 h 82296"/>
                  <a:gd name="connsiteX5" fmla="*/ 17099 w 45720"/>
                  <a:gd name="connsiteY5" fmla="*/ 88971 h 82296"/>
                  <a:gd name="connsiteX6" fmla="*/ 0 w 45720"/>
                  <a:gd name="connsiteY6" fmla="*/ 88971 h 82296"/>
                  <a:gd name="connsiteX7" fmla="*/ 0 w 45720"/>
                  <a:gd name="connsiteY7" fmla="*/ 1920 h 82296"/>
                  <a:gd name="connsiteX8" fmla="*/ 17099 w 45720"/>
                  <a:gd name="connsiteY8" fmla="*/ 1920 h 82296"/>
                  <a:gd name="connsiteX9" fmla="*/ 17099 w 45720"/>
                  <a:gd name="connsiteY9" fmla="*/ 10150 h 82296"/>
                  <a:gd name="connsiteX10" fmla="*/ 20665 w 45720"/>
                  <a:gd name="connsiteY10" fmla="*/ 6126 h 82296"/>
                  <a:gd name="connsiteX11" fmla="*/ 25329 w 45720"/>
                  <a:gd name="connsiteY11" fmla="*/ 2926 h 82296"/>
                  <a:gd name="connsiteX12" fmla="*/ 30815 w 45720"/>
                  <a:gd name="connsiteY12" fmla="*/ 732 h 82296"/>
                  <a:gd name="connsiteX13" fmla="*/ 36942 w 45720"/>
                  <a:gd name="connsiteY13" fmla="*/ 0 h 82296"/>
                  <a:gd name="connsiteX14" fmla="*/ 45720 w 45720"/>
                  <a:gd name="connsiteY14" fmla="*/ 1006 h 82296"/>
                  <a:gd name="connsiteX15" fmla="*/ 51755 w 45720"/>
                  <a:gd name="connsiteY15" fmla="*/ 3658 h 82296"/>
                  <a:gd name="connsiteX16" fmla="*/ 47183 w 45720"/>
                  <a:gd name="connsiteY16" fmla="*/ 20025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 h="82296">
                    <a:moveTo>
                      <a:pt x="47183" y="20025"/>
                    </a:moveTo>
                    <a:cubicBezTo>
                      <a:pt x="45354" y="19020"/>
                      <a:pt x="43434" y="18197"/>
                      <a:pt x="41422" y="17648"/>
                    </a:cubicBezTo>
                    <a:cubicBezTo>
                      <a:pt x="39411" y="17099"/>
                      <a:pt x="36942" y="16825"/>
                      <a:pt x="34198" y="16825"/>
                    </a:cubicBezTo>
                    <a:cubicBezTo>
                      <a:pt x="28712" y="16825"/>
                      <a:pt x="24506" y="18654"/>
                      <a:pt x="21580" y="22403"/>
                    </a:cubicBezTo>
                    <a:cubicBezTo>
                      <a:pt x="18562" y="26152"/>
                      <a:pt x="17099" y="31730"/>
                      <a:pt x="17099" y="39228"/>
                    </a:cubicBezTo>
                    <a:lnTo>
                      <a:pt x="17099" y="88971"/>
                    </a:lnTo>
                    <a:lnTo>
                      <a:pt x="0" y="88971"/>
                    </a:lnTo>
                    <a:lnTo>
                      <a:pt x="0" y="1920"/>
                    </a:lnTo>
                    <a:lnTo>
                      <a:pt x="17099" y="1920"/>
                    </a:lnTo>
                    <a:lnTo>
                      <a:pt x="17099" y="10150"/>
                    </a:lnTo>
                    <a:cubicBezTo>
                      <a:pt x="18105" y="8687"/>
                      <a:pt x="19294" y="7315"/>
                      <a:pt x="20665" y="6126"/>
                    </a:cubicBezTo>
                    <a:cubicBezTo>
                      <a:pt x="22037" y="4938"/>
                      <a:pt x="23591" y="3840"/>
                      <a:pt x="25329" y="2926"/>
                    </a:cubicBezTo>
                    <a:cubicBezTo>
                      <a:pt x="27066" y="2012"/>
                      <a:pt x="28895" y="1280"/>
                      <a:pt x="30815" y="732"/>
                    </a:cubicBezTo>
                    <a:cubicBezTo>
                      <a:pt x="32735" y="183"/>
                      <a:pt x="34839" y="0"/>
                      <a:pt x="36942" y="0"/>
                    </a:cubicBezTo>
                    <a:cubicBezTo>
                      <a:pt x="40416" y="0"/>
                      <a:pt x="43342" y="366"/>
                      <a:pt x="45720" y="1006"/>
                    </a:cubicBezTo>
                    <a:cubicBezTo>
                      <a:pt x="48006" y="1646"/>
                      <a:pt x="50109" y="2560"/>
                      <a:pt x="51755" y="3658"/>
                    </a:cubicBezTo>
                    <a:lnTo>
                      <a:pt x="47183" y="20025"/>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8" name="Freeform: Shape 337">
                <a:extLst>
                  <a:ext uri="{FF2B5EF4-FFF2-40B4-BE49-F238E27FC236}">
                    <a16:creationId xmlns:a16="http://schemas.microsoft.com/office/drawing/2014/main" id="{B6254E2E-E364-4676-8D7C-6B1418379E4D}"/>
                  </a:ext>
                </a:extLst>
              </p:cNvPr>
              <p:cNvSpPr/>
              <p:nvPr/>
            </p:nvSpPr>
            <p:spPr>
              <a:xfrm>
                <a:off x="4039489" y="6130138"/>
                <a:ext cx="18288" cy="18288"/>
              </a:xfrm>
              <a:custGeom>
                <a:avLst/>
                <a:gdLst>
                  <a:gd name="connsiteX0" fmla="*/ 26060 w 18288"/>
                  <a:gd name="connsiteY0" fmla="*/ 13259 h 18288"/>
                  <a:gd name="connsiteX1" fmla="*/ 25054 w 18288"/>
                  <a:gd name="connsiteY1" fmla="*/ 18379 h 18288"/>
                  <a:gd name="connsiteX2" fmla="*/ 22311 w 18288"/>
                  <a:gd name="connsiteY2" fmla="*/ 22586 h 18288"/>
                  <a:gd name="connsiteX3" fmla="*/ 18105 w 18288"/>
                  <a:gd name="connsiteY3" fmla="*/ 25420 h 18288"/>
                  <a:gd name="connsiteX4" fmla="*/ 12985 w 18288"/>
                  <a:gd name="connsiteY4" fmla="*/ 26426 h 18288"/>
                  <a:gd name="connsiteX5" fmla="*/ 7864 w 18288"/>
                  <a:gd name="connsiteY5" fmla="*/ 25420 h 18288"/>
                  <a:gd name="connsiteX6" fmla="*/ 3749 w 18288"/>
                  <a:gd name="connsiteY6" fmla="*/ 22586 h 18288"/>
                  <a:gd name="connsiteX7" fmla="*/ 1006 w 18288"/>
                  <a:gd name="connsiteY7" fmla="*/ 18379 h 18288"/>
                  <a:gd name="connsiteX8" fmla="*/ 0 w 18288"/>
                  <a:gd name="connsiteY8" fmla="*/ 13259 h 18288"/>
                  <a:gd name="connsiteX9" fmla="*/ 1006 w 18288"/>
                  <a:gd name="connsiteY9" fmla="*/ 8138 h 18288"/>
                  <a:gd name="connsiteX10" fmla="*/ 3749 w 18288"/>
                  <a:gd name="connsiteY10" fmla="*/ 3932 h 18288"/>
                  <a:gd name="connsiteX11" fmla="*/ 7864 w 18288"/>
                  <a:gd name="connsiteY11" fmla="*/ 1006 h 18288"/>
                  <a:gd name="connsiteX12" fmla="*/ 12985 w 18288"/>
                  <a:gd name="connsiteY12" fmla="*/ 0 h 18288"/>
                  <a:gd name="connsiteX13" fmla="*/ 18105 w 18288"/>
                  <a:gd name="connsiteY13" fmla="*/ 1006 h 18288"/>
                  <a:gd name="connsiteX14" fmla="*/ 22311 w 18288"/>
                  <a:gd name="connsiteY14" fmla="*/ 3932 h 18288"/>
                  <a:gd name="connsiteX15" fmla="*/ 25054 w 18288"/>
                  <a:gd name="connsiteY15" fmla="*/ 8138 h 18288"/>
                  <a:gd name="connsiteX16" fmla="*/ 26060 w 18288"/>
                  <a:gd name="connsiteY16" fmla="*/ 13259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288" h="18288">
                    <a:moveTo>
                      <a:pt x="26060" y="13259"/>
                    </a:moveTo>
                    <a:cubicBezTo>
                      <a:pt x="26060" y="15088"/>
                      <a:pt x="25695" y="16825"/>
                      <a:pt x="25054" y="18379"/>
                    </a:cubicBezTo>
                    <a:cubicBezTo>
                      <a:pt x="24415" y="19934"/>
                      <a:pt x="23500" y="21397"/>
                      <a:pt x="22311" y="22586"/>
                    </a:cubicBezTo>
                    <a:cubicBezTo>
                      <a:pt x="21123" y="23774"/>
                      <a:pt x="19751" y="24689"/>
                      <a:pt x="18105" y="25420"/>
                    </a:cubicBezTo>
                    <a:cubicBezTo>
                      <a:pt x="16551" y="26060"/>
                      <a:pt x="14813" y="26426"/>
                      <a:pt x="12985" y="26426"/>
                    </a:cubicBezTo>
                    <a:cubicBezTo>
                      <a:pt x="11156" y="26426"/>
                      <a:pt x="9418" y="26060"/>
                      <a:pt x="7864" y="25420"/>
                    </a:cubicBezTo>
                    <a:cubicBezTo>
                      <a:pt x="6218" y="24780"/>
                      <a:pt x="4846" y="23774"/>
                      <a:pt x="3749" y="22586"/>
                    </a:cubicBezTo>
                    <a:cubicBezTo>
                      <a:pt x="2560" y="21397"/>
                      <a:pt x="1646" y="20025"/>
                      <a:pt x="1006" y="18379"/>
                    </a:cubicBezTo>
                    <a:cubicBezTo>
                      <a:pt x="274" y="16825"/>
                      <a:pt x="0" y="15088"/>
                      <a:pt x="0" y="13259"/>
                    </a:cubicBezTo>
                    <a:cubicBezTo>
                      <a:pt x="0" y="11430"/>
                      <a:pt x="366" y="9693"/>
                      <a:pt x="1006" y="8138"/>
                    </a:cubicBezTo>
                    <a:cubicBezTo>
                      <a:pt x="1646" y="6584"/>
                      <a:pt x="2560" y="5121"/>
                      <a:pt x="3749" y="3932"/>
                    </a:cubicBezTo>
                    <a:cubicBezTo>
                      <a:pt x="4938" y="2743"/>
                      <a:pt x="6309" y="1737"/>
                      <a:pt x="7864" y="1006"/>
                    </a:cubicBezTo>
                    <a:cubicBezTo>
                      <a:pt x="9418" y="274"/>
                      <a:pt x="11156" y="0"/>
                      <a:pt x="12985" y="0"/>
                    </a:cubicBezTo>
                    <a:cubicBezTo>
                      <a:pt x="14813" y="0"/>
                      <a:pt x="16551" y="366"/>
                      <a:pt x="18105" y="1006"/>
                    </a:cubicBezTo>
                    <a:cubicBezTo>
                      <a:pt x="19660" y="1737"/>
                      <a:pt x="21123" y="2652"/>
                      <a:pt x="22311" y="3932"/>
                    </a:cubicBezTo>
                    <a:cubicBezTo>
                      <a:pt x="23500" y="5121"/>
                      <a:pt x="24415" y="6584"/>
                      <a:pt x="25054" y="8138"/>
                    </a:cubicBezTo>
                    <a:cubicBezTo>
                      <a:pt x="25786" y="9693"/>
                      <a:pt x="26060" y="11430"/>
                      <a:pt x="26060" y="13259"/>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339" name="Freeform: Shape 338">
              <a:extLst>
                <a:ext uri="{FF2B5EF4-FFF2-40B4-BE49-F238E27FC236}">
                  <a16:creationId xmlns:a16="http://schemas.microsoft.com/office/drawing/2014/main" id="{B4E1A59E-A4AC-4C7A-900E-756DE28E3AE4}"/>
                </a:ext>
              </a:extLst>
            </p:cNvPr>
            <p:cNvSpPr/>
            <p:nvPr/>
          </p:nvSpPr>
          <p:spPr>
            <a:xfrm>
              <a:off x="612775" y="6223315"/>
              <a:ext cx="82296" cy="109728"/>
            </a:xfrm>
            <a:custGeom>
              <a:avLst/>
              <a:gdLst>
                <a:gd name="connsiteX0" fmla="*/ 0 w 82296"/>
                <a:gd name="connsiteY0" fmla="*/ 0 h 109728"/>
                <a:gd name="connsiteX1" fmla="*/ 0 w 82296"/>
                <a:gd name="connsiteY1" fmla="*/ 17099 h 109728"/>
                <a:gd name="connsiteX2" fmla="*/ 33833 w 82296"/>
                <a:gd name="connsiteY2" fmla="*/ 17099 h 109728"/>
                <a:gd name="connsiteX3" fmla="*/ 33833 w 82296"/>
                <a:gd name="connsiteY3" fmla="*/ 116220 h 109728"/>
                <a:gd name="connsiteX4" fmla="*/ 51298 w 82296"/>
                <a:gd name="connsiteY4" fmla="*/ 116220 h 109728"/>
                <a:gd name="connsiteX5" fmla="*/ 51298 w 82296"/>
                <a:gd name="connsiteY5" fmla="*/ 17099 h 109728"/>
                <a:gd name="connsiteX6" fmla="*/ 85131 w 82296"/>
                <a:gd name="connsiteY6" fmla="*/ 17099 h 109728"/>
                <a:gd name="connsiteX7" fmla="*/ 85131 w 82296"/>
                <a:gd name="connsiteY7" fmla="*/ 0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296" h="109728">
                  <a:moveTo>
                    <a:pt x="0" y="0"/>
                  </a:moveTo>
                  <a:lnTo>
                    <a:pt x="0" y="17099"/>
                  </a:lnTo>
                  <a:lnTo>
                    <a:pt x="33833" y="17099"/>
                  </a:lnTo>
                  <a:lnTo>
                    <a:pt x="33833" y="116220"/>
                  </a:lnTo>
                  <a:lnTo>
                    <a:pt x="51298" y="116220"/>
                  </a:lnTo>
                  <a:lnTo>
                    <a:pt x="51298" y="17099"/>
                  </a:lnTo>
                  <a:lnTo>
                    <a:pt x="85131" y="17099"/>
                  </a:lnTo>
                  <a:lnTo>
                    <a:pt x="85131"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340" name="Graphic 2">
              <a:extLst>
                <a:ext uri="{FF2B5EF4-FFF2-40B4-BE49-F238E27FC236}">
                  <a16:creationId xmlns:a16="http://schemas.microsoft.com/office/drawing/2014/main" id="{69916B0C-9B62-4073-A26B-3F4B3A5DFA66}"/>
                </a:ext>
              </a:extLst>
            </p:cNvPr>
            <p:cNvGrpSpPr/>
            <p:nvPr/>
          </p:nvGrpSpPr>
          <p:grpSpPr>
            <a:xfrm>
              <a:off x="712445" y="6218560"/>
              <a:ext cx="941832" cy="118872"/>
              <a:chOff x="712445" y="6218560"/>
              <a:chExt cx="941832" cy="118872"/>
            </a:xfrm>
            <a:solidFill>
              <a:srgbClr val="FFFFFF"/>
            </a:solidFill>
          </p:grpSpPr>
          <p:sp>
            <p:nvSpPr>
              <p:cNvPr id="341" name="Freeform: Shape 340">
                <a:extLst>
                  <a:ext uri="{FF2B5EF4-FFF2-40B4-BE49-F238E27FC236}">
                    <a16:creationId xmlns:a16="http://schemas.microsoft.com/office/drawing/2014/main" id="{54ED5835-4C15-4484-ACF0-535EEE21C549}"/>
                  </a:ext>
                </a:extLst>
              </p:cNvPr>
              <p:cNvSpPr/>
              <p:nvPr/>
            </p:nvSpPr>
            <p:spPr>
              <a:xfrm>
                <a:off x="712445" y="6218560"/>
                <a:ext cx="64008" cy="118872"/>
              </a:xfrm>
              <a:custGeom>
                <a:avLst/>
                <a:gdLst>
                  <a:gd name="connsiteX0" fmla="*/ 52944 w 64008"/>
                  <a:gd name="connsiteY0" fmla="*/ 120975 h 118872"/>
                  <a:gd name="connsiteX1" fmla="*/ 52944 w 64008"/>
                  <a:gd name="connsiteY1" fmla="*/ 71780 h 118872"/>
                  <a:gd name="connsiteX2" fmla="*/ 48646 w 64008"/>
                  <a:gd name="connsiteY2" fmla="*/ 53767 h 118872"/>
                  <a:gd name="connsiteX3" fmla="*/ 35022 w 64008"/>
                  <a:gd name="connsiteY3" fmla="*/ 47823 h 118872"/>
                  <a:gd name="connsiteX4" fmla="*/ 27706 w 64008"/>
                  <a:gd name="connsiteY4" fmla="*/ 49103 h 118872"/>
                  <a:gd name="connsiteX5" fmla="*/ 21946 w 64008"/>
                  <a:gd name="connsiteY5" fmla="*/ 53401 h 118872"/>
                  <a:gd name="connsiteX6" fmla="*/ 18288 w 64008"/>
                  <a:gd name="connsiteY6" fmla="*/ 60442 h 118872"/>
                  <a:gd name="connsiteX7" fmla="*/ 17099 w 64008"/>
                  <a:gd name="connsiteY7" fmla="*/ 70043 h 118872"/>
                  <a:gd name="connsiteX8" fmla="*/ 17099 w 64008"/>
                  <a:gd name="connsiteY8" fmla="*/ 120975 h 118872"/>
                  <a:gd name="connsiteX9" fmla="*/ 0 w 64008"/>
                  <a:gd name="connsiteY9" fmla="*/ 120975 h 118872"/>
                  <a:gd name="connsiteX10" fmla="*/ 0 w 64008"/>
                  <a:gd name="connsiteY10" fmla="*/ 8961 h 118872"/>
                  <a:gd name="connsiteX11" fmla="*/ 17099 w 64008"/>
                  <a:gd name="connsiteY11" fmla="*/ 0 h 118872"/>
                  <a:gd name="connsiteX12" fmla="*/ 17099 w 64008"/>
                  <a:gd name="connsiteY12" fmla="*/ 42154 h 118872"/>
                  <a:gd name="connsiteX13" fmla="*/ 21031 w 64008"/>
                  <a:gd name="connsiteY13" fmla="*/ 37948 h 118872"/>
                  <a:gd name="connsiteX14" fmla="*/ 26243 w 64008"/>
                  <a:gd name="connsiteY14" fmla="*/ 34747 h 118872"/>
                  <a:gd name="connsiteX15" fmla="*/ 32278 w 64008"/>
                  <a:gd name="connsiteY15" fmla="*/ 32736 h 118872"/>
                  <a:gd name="connsiteX16" fmla="*/ 38953 w 64008"/>
                  <a:gd name="connsiteY16" fmla="*/ 32004 h 118872"/>
                  <a:gd name="connsiteX17" fmla="*/ 52578 w 64008"/>
                  <a:gd name="connsiteY17" fmla="*/ 34473 h 118872"/>
                  <a:gd name="connsiteX18" fmla="*/ 62271 w 64008"/>
                  <a:gd name="connsiteY18" fmla="*/ 41880 h 118872"/>
                  <a:gd name="connsiteX19" fmla="*/ 68123 w 64008"/>
                  <a:gd name="connsiteY19" fmla="*/ 54315 h 118872"/>
                  <a:gd name="connsiteX20" fmla="*/ 70043 w 64008"/>
                  <a:gd name="connsiteY20" fmla="*/ 70957 h 118872"/>
                  <a:gd name="connsiteX21" fmla="*/ 70043 w 64008"/>
                  <a:gd name="connsiteY21" fmla="*/ 120884 h 118872"/>
                  <a:gd name="connsiteX22" fmla="*/ 52944 w 64008"/>
                  <a:gd name="connsiteY22" fmla="*/ 120884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118872">
                    <a:moveTo>
                      <a:pt x="52944" y="120975"/>
                    </a:moveTo>
                    <a:lnTo>
                      <a:pt x="52944" y="71780"/>
                    </a:lnTo>
                    <a:cubicBezTo>
                      <a:pt x="52944" y="63734"/>
                      <a:pt x="51481" y="57699"/>
                      <a:pt x="48646" y="53767"/>
                    </a:cubicBezTo>
                    <a:cubicBezTo>
                      <a:pt x="45811" y="49835"/>
                      <a:pt x="41239" y="47823"/>
                      <a:pt x="35022" y="47823"/>
                    </a:cubicBezTo>
                    <a:cubicBezTo>
                      <a:pt x="32370" y="47823"/>
                      <a:pt x="29901" y="48280"/>
                      <a:pt x="27706" y="49103"/>
                    </a:cubicBezTo>
                    <a:cubicBezTo>
                      <a:pt x="25420" y="50018"/>
                      <a:pt x="23500" y="51389"/>
                      <a:pt x="21946" y="53401"/>
                    </a:cubicBezTo>
                    <a:cubicBezTo>
                      <a:pt x="20300" y="55413"/>
                      <a:pt x="19111" y="57790"/>
                      <a:pt x="18288" y="60442"/>
                    </a:cubicBezTo>
                    <a:cubicBezTo>
                      <a:pt x="17465" y="63185"/>
                      <a:pt x="17099" y="66294"/>
                      <a:pt x="17099" y="70043"/>
                    </a:cubicBezTo>
                    <a:lnTo>
                      <a:pt x="17099" y="120975"/>
                    </a:lnTo>
                    <a:lnTo>
                      <a:pt x="0" y="120975"/>
                    </a:lnTo>
                    <a:lnTo>
                      <a:pt x="0" y="8961"/>
                    </a:lnTo>
                    <a:lnTo>
                      <a:pt x="17099" y="0"/>
                    </a:lnTo>
                    <a:lnTo>
                      <a:pt x="17099" y="42154"/>
                    </a:lnTo>
                    <a:cubicBezTo>
                      <a:pt x="18197" y="40599"/>
                      <a:pt x="19477" y="39136"/>
                      <a:pt x="21031" y="37948"/>
                    </a:cubicBezTo>
                    <a:cubicBezTo>
                      <a:pt x="22586" y="36667"/>
                      <a:pt x="24323" y="35570"/>
                      <a:pt x="26243" y="34747"/>
                    </a:cubicBezTo>
                    <a:cubicBezTo>
                      <a:pt x="28164" y="33924"/>
                      <a:pt x="30175" y="33193"/>
                      <a:pt x="32278" y="32736"/>
                    </a:cubicBezTo>
                    <a:cubicBezTo>
                      <a:pt x="34473" y="32278"/>
                      <a:pt x="36667" y="32004"/>
                      <a:pt x="38953" y="32004"/>
                    </a:cubicBezTo>
                    <a:cubicBezTo>
                      <a:pt x="44166" y="32004"/>
                      <a:pt x="48738" y="32827"/>
                      <a:pt x="52578" y="34473"/>
                    </a:cubicBezTo>
                    <a:cubicBezTo>
                      <a:pt x="56418" y="36119"/>
                      <a:pt x="59619" y="38588"/>
                      <a:pt x="62271" y="41880"/>
                    </a:cubicBezTo>
                    <a:cubicBezTo>
                      <a:pt x="64922" y="45171"/>
                      <a:pt x="66843" y="49286"/>
                      <a:pt x="68123" y="54315"/>
                    </a:cubicBezTo>
                    <a:cubicBezTo>
                      <a:pt x="69403" y="59345"/>
                      <a:pt x="70043" y="64922"/>
                      <a:pt x="70043" y="70957"/>
                    </a:cubicBezTo>
                    <a:lnTo>
                      <a:pt x="70043" y="120884"/>
                    </a:lnTo>
                    <a:lnTo>
                      <a:pt x="52944" y="12088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4" name="Freeform: Shape 343">
                <a:extLst>
                  <a:ext uri="{FF2B5EF4-FFF2-40B4-BE49-F238E27FC236}">
                    <a16:creationId xmlns:a16="http://schemas.microsoft.com/office/drawing/2014/main" id="{D3B1E748-417C-42A0-9996-9A8010F4787F}"/>
                  </a:ext>
                </a:extLst>
              </p:cNvPr>
              <p:cNvSpPr/>
              <p:nvPr/>
            </p:nvSpPr>
            <p:spPr>
              <a:xfrm>
                <a:off x="799495" y="6250656"/>
                <a:ext cx="73152" cy="82296"/>
              </a:xfrm>
              <a:custGeom>
                <a:avLst/>
                <a:gdLst>
                  <a:gd name="connsiteX0" fmla="*/ 57607 w 73152"/>
                  <a:gd name="connsiteY0" fmla="*/ 37216 h 82296"/>
                  <a:gd name="connsiteX1" fmla="*/ 56053 w 73152"/>
                  <a:gd name="connsiteY1" fmla="*/ 28804 h 82296"/>
                  <a:gd name="connsiteX2" fmla="*/ 52304 w 73152"/>
                  <a:gd name="connsiteY2" fmla="*/ 21854 h 82296"/>
                  <a:gd name="connsiteX3" fmla="*/ 46086 w 73152"/>
                  <a:gd name="connsiteY3" fmla="*/ 17099 h 82296"/>
                  <a:gd name="connsiteX4" fmla="*/ 37033 w 73152"/>
                  <a:gd name="connsiteY4" fmla="*/ 15362 h 82296"/>
                  <a:gd name="connsiteX5" fmla="*/ 29078 w 73152"/>
                  <a:gd name="connsiteY5" fmla="*/ 16825 h 82296"/>
                  <a:gd name="connsiteX6" fmla="*/ 23226 w 73152"/>
                  <a:gd name="connsiteY6" fmla="*/ 21031 h 82296"/>
                  <a:gd name="connsiteX7" fmla="*/ 19202 w 73152"/>
                  <a:gd name="connsiteY7" fmla="*/ 27798 h 82296"/>
                  <a:gd name="connsiteX8" fmla="*/ 17008 w 73152"/>
                  <a:gd name="connsiteY8" fmla="*/ 37125 h 82296"/>
                  <a:gd name="connsiteX9" fmla="*/ 57607 w 73152"/>
                  <a:gd name="connsiteY9" fmla="*/ 37125 h 82296"/>
                  <a:gd name="connsiteX10" fmla="*/ 74798 w 73152"/>
                  <a:gd name="connsiteY10" fmla="*/ 43525 h 82296"/>
                  <a:gd name="connsiteX11" fmla="*/ 74615 w 73152"/>
                  <a:gd name="connsiteY11" fmla="*/ 47915 h 82296"/>
                  <a:gd name="connsiteX12" fmla="*/ 74341 w 73152"/>
                  <a:gd name="connsiteY12" fmla="*/ 51298 h 82296"/>
                  <a:gd name="connsiteX13" fmla="*/ 16734 w 73152"/>
                  <a:gd name="connsiteY13" fmla="*/ 51298 h 82296"/>
                  <a:gd name="connsiteX14" fmla="*/ 19477 w 73152"/>
                  <a:gd name="connsiteY14" fmla="*/ 62088 h 82296"/>
                  <a:gd name="connsiteX15" fmla="*/ 24414 w 73152"/>
                  <a:gd name="connsiteY15" fmla="*/ 69494 h 82296"/>
                  <a:gd name="connsiteX16" fmla="*/ 30998 w 73152"/>
                  <a:gd name="connsiteY16" fmla="*/ 73792 h 82296"/>
                  <a:gd name="connsiteX17" fmla="*/ 38679 w 73152"/>
                  <a:gd name="connsiteY17" fmla="*/ 75164 h 82296"/>
                  <a:gd name="connsiteX18" fmla="*/ 43983 w 73152"/>
                  <a:gd name="connsiteY18" fmla="*/ 74706 h 82296"/>
                  <a:gd name="connsiteX19" fmla="*/ 48829 w 73152"/>
                  <a:gd name="connsiteY19" fmla="*/ 73243 h 82296"/>
                  <a:gd name="connsiteX20" fmla="*/ 52944 w 73152"/>
                  <a:gd name="connsiteY20" fmla="*/ 71232 h 82296"/>
                  <a:gd name="connsiteX21" fmla="*/ 57607 w 73152"/>
                  <a:gd name="connsiteY21" fmla="*/ 68214 h 82296"/>
                  <a:gd name="connsiteX22" fmla="*/ 67757 w 73152"/>
                  <a:gd name="connsiteY22" fmla="*/ 79096 h 82296"/>
                  <a:gd name="connsiteX23" fmla="*/ 61539 w 73152"/>
                  <a:gd name="connsiteY23" fmla="*/ 84033 h 82296"/>
                  <a:gd name="connsiteX24" fmla="*/ 55138 w 73152"/>
                  <a:gd name="connsiteY24" fmla="*/ 87417 h 82296"/>
                  <a:gd name="connsiteX25" fmla="*/ 47366 w 73152"/>
                  <a:gd name="connsiteY25" fmla="*/ 89703 h 82296"/>
                  <a:gd name="connsiteX26" fmla="*/ 37673 w 73152"/>
                  <a:gd name="connsiteY26" fmla="*/ 90708 h 82296"/>
                  <a:gd name="connsiteX27" fmla="*/ 27066 w 73152"/>
                  <a:gd name="connsiteY27" fmla="*/ 89154 h 82296"/>
                  <a:gd name="connsiteX28" fmla="*/ 18288 w 73152"/>
                  <a:gd name="connsiteY28" fmla="*/ 85039 h 82296"/>
                  <a:gd name="connsiteX29" fmla="*/ 11430 w 73152"/>
                  <a:gd name="connsiteY29" fmla="*/ 79187 h 82296"/>
                  <a:gd name="connsiteX30" fmla="*/ 5669 w 73152"/>
                  <a:gd name="connsiteY30" fmla="*/ 70775 h 82296"/>
                  <a:gd name="connsiteX31" fmla="*/ 1463 w 73152"/>
                  <a:gd name="connsiteY31" fmla="*/ 59253 h 82296"/>
                  <a:gd name="connsiteX32" fmla="*/ 0 w 73152"/>
                  <a:gd name="connsiteY32" fmla="*/ 45354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03 w 73152"/>
                  <a:gd name="connsiteY39" fmla="*/ 26975 h 82296"/>
                  <a:gd name="connsiteX40" fmla="*/ 74798 w 73152"/>
                  <a:gd name="connsiteY40" fmla="*/ 43525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216"/>
                    </a:moveTo>
                    <a:cubicBezTo>
                      <a:pt x="57424" y="34199"/>
                      <a:pt x="56876" y="31455"/>
                      <a:pt x="56053" y="28804"/>
                    </a:cubicBezTo>
                    <a:cubicBezTo>
                      <a:pt x="55230" y="26152"/>
                      <a:pt x="53950" y="23866"/>
                      <a:pt x="52304" y="21854"/>
                    </a:cubicBezTo>
                    <a:cubicBezTo>
                      <a:pt x="50658" y="19842"/>
                      <a:pt x="48555" y="18288"/>
                      <a:pt x="46086" y="17099"/>
                    </a:cubicBezTo>
                    <a:cubicBezTo>
                      <a:pt x="43525" y="15911"/>
                      <a:pt x="40599" y="15362"/>
                      <a:pt x="37033" y="15362"/>
                    </a:cubicBezTo>
                    <a:cubicBezTo>
                      <a:pt x="34016" y="15362"/>
                      <a:pt x="31364" y="15819"/>
                      <a:pt x="29078" y="16825"/>
                    </a:cubicBezTo>
                    <a:cubicBezTo>
                      <a:pt x="26792" y="17831"/>
                      <a:pt x="24872" y="19202"/>
                      <a:pt x="23226" y="21031"/>
                    </a:cubicBezTo>
                    <a:cubicBezTo>
                      <a:pt x="21580" y="22860"/>
                      <a:pt x="20300" y="25146"/>
                      <a:pt x="19202" y="27798"/>
                    </a:cubicBezTo>
                    <a:cubicBezTo>
                      <a:pt x="18105" y="30450"/>
                      <a:pt x="17465" y="33558"/>
                      <a:pt x="17008" y="37125"/>
                    </a:cubicBezTo>
                    <a:lnTo>
                      <a:pt x="57607" y="37125"/>
                    </a:lnTo>
                    <a:close/>
                    <a:moveTo>
                      <a:pt x="74798" y="43525"/>
                    </a:moveTo>
                    <a:cubicBezTo>
                      <a:pt x="74798" y="45080"/>
                      <a:pt x="74706" y="46543"/>
                      <a:pt x="74615" y="47915"/>
                    </a:cubicBezTo>
                    <a:cubicBezTo>
                      <a:pt x="74524" y="49286"/>
                      <a:pt x="74432" y="50383"/>
                      <a:pt x="74341" y="51298"/>
                    </a:cubicBezTo>
                    <a:lnTo>
                      <a:pt x="16734" y="51298"/>
                    </a:lnTo>
                    <a:cubicBezTo>
                      <a:pt x="17191" y="55504"/>
                      <a:pt x="18197" y="59070"/>
                      <a:pt x="19477" y="62088"/>
                    </a:cubicBezTo>
                    <a:cubicBezTo>
                      <a:pt x="20848" y="65105"/>
                      <a:pt x="22494" y="67574"/>
                      <a:pt x="24414" y="69494"/>
                    </a:cubicBezTo>
                    <a:cubicBezTo>
                      <a:pt x="26335" y="71415"/>
                      <a:pt x="28529" y="72878"/>
                      <a:pt x="30998" y="73792"/>
                    </a:cubicBezTo>
                    <a:cubicBezTo>
                      <a:pt x="33467" y="74706"/>
                      <a:pt x="36027" y="75164"/>
                      <a:pt x="38679" y="75164"/>
                    </a:cubicBezTo>
                    <a:cubicBezTo>
                      <a:pt x="40599" y="75164"/>
                      <a:pt x="42337" y="74981"/>
                      <a:pt x="43983" y="74706"/>
                    </a:cubicBezTo>
                    <a:cubicBezTo>
                      <a:pt x="45629" y="74432"/>
                      <a:pt x="47274" y="73884"/>
                      <a:pt x="48829" y="73243"/>
                    </a:cubicBezTo>
                    <a:cubicBezTo>
                      <a:pt x="50383" y="72603"/>
                      <a:pt x="51755" y="71963"/>
                      <a:pt x="52944" y="71232"/>
                    </a:cubicBezTo>
                    <a:cubicBezTo>
                      <a:pt x="54132" y="70592"/>
                      <a:pt x="55687" y="69586"/>
                      <a:pt x="57607" y="68214"/>
                    </a:cubicBezTo>
                    <a:lnTo>
                      <a:pt x="67757" y="79096"/>
                    </a:lnTo>
                    <a:cubicBezTo>
                      <a:pt x="65562" y="81107"/>
                      <a:pt x="63551" y="82845"/>
                      <a:pt x="61539" y="84033"/>
                    </a:cubicBezTo>
                    <a:cubicBezTo>
                      <a:pt x="59527" y="85314"/>
                      <a:pt x="57424" y="86411"/>
                      <a:pt x="55138" y="87417"/>
                    </a:cubicBezTo>
                    <a:cubicBezTo>
                      <a:pt x="52852" y="88422"/>
                      <a:pt x="50201" y="89154"/>
                      <a:pt x="47366" y="89703"/>
                    </a:cubicBezTo>
                    <a:cubicBezTo>
                      <a:pt x="44348" y="90434"/>
                      <a:pt x="41148" y="90708"/>
                      <a:pt x="37673" y="90708"/>
                    </a:cubicBezTo>
                    <a:cubicBezTo>
                      <a:pt x="33924" y="90708"/>
                      <a:pt x="30358" y="90160"/>
                      <a:pt x="27066" y="89154"/>
                    </a:cubicBezTo>
                    <a:cubicBezTo>
                      <a:pt x="23774" y="88057"/>
                      <a:pt x="20848" y="86685"/>
                      <a:pt x="18288" y="85039"/>
                    </a:cubicBezTo>
                    <a:cubicBezTo>
                      <a:pt x="15728" y="83302"/>
                      <a:pt x="13442" y="81382"/>
                      <a:pt x="11430" y="79187"/>
                    </a:cubicBezTo>
                    <a:cubicBezTo>
                      <a:pt x="9418" y="76992"/>
                      <a:pt x="7498" y="74158"/>
                      <a:pt x="5669" y="70775"/>
                    </a:cubicBezTo>
                    <a:cubicBezTo>
                      <a:pt x="3840" y="67300"/>
                      <a:pt x="2469" y="63551"/>
                      <a:pt x="1463" y="59253"/>
                    </a:cubicBezTo>
                    <a:cubicBezTo>
                      <a:pt x="457" y="55047"/>
                      <a:pt x="0" y="50383"/>
                      <a:pt x="0" y="45354"/>
                    </a:cubicBezTo>
                    <a:cubicBezTo>
                      <a:pt x="0" y="38039"/>
                      <a:pt x="914" y="31547"/>
                      <a:pt x="2835" y="25878"/>
                    </a:cubicBezTo>
                    <a:cubicBezTo>
                      <a:pt x="4663" y="20208"/>
                      <a:pt x="7315" y="15453"/>
                      <a:pt x="10698" y="11613"/>
                    </a:cubicBezTo>
                    <a:cubicBezTo>
                      <a:pt x="14082" y="7772"/>
                      <a:pt x="18105"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03" y="26975"/>
                    </a:cubicBezTo>
                    <a:cubicBezTo>
                      <a:pt x="74066" y="32095"/>
                      <a:pt x="74798" y="37673"/>
                      <a:pt x="74798" y="43525"/>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5" name="Freeform: Shape 344">
                <a:extLst>
                  <a:ext uri="{FF2B5EF4-FFF2-40B4-BE49-F238E27FC236}">
                    <a16:creationId xmlns:a16="http://schemas.microsoft.com/office/drawing/2014/main" id="{07D9CC35-912F-4EE2-8EF8-64C4BA399D6C}"/>
                  </a:ext>
                </a:extLst>
              </p:cNvPr>
              <p:cNvSpPr/>
              <p:nvPr/>
            </p:nvSpPr>
            <p:spPr>
              <a:xfrm>
                <a:off x="933729" y="6218560"/>
                <a:ext cx="73152" cy="118872"/>
              </a:xfrm>
              <a:custGeom>
                <a:avLst/>
                <a:gdLst>
                  <a:gd name="connsiteX0" fmla="*/ 56053 w 73152"/>
                  <a:gd name="connsiteY0" fmla="*/ 79279 h 118872"/>
                  <a:gd name="connsiteX1" fmla="*/ 51024 w 73152"/>
                  <a:gd name="connsiteY1" fmla="*/ 55321 h 118872"/>
                  <a:gd name="connsiteX2" fmla="*/ 36485 w 73152"/>
                  <a:gd name="connsiteY2" fmla="*/ 47732 h 118872"/>
                  <a:gd name="connsiteX3" fmla="*/ 30632 w 73152"/>
                  <a:gd name="connsiteY3" fmla="*/ 48646 h 118872"/>
                  <a:gd name="connsiteX4" fmla="*/ 25329 w 73152"/>
                  <a:gd name="connsiteY4" fmla="*/ 51115 h 118872"/>
                  <a:gd name="connsiteX5" fmla="*/ 20665 w 73152"/>
                  <a:gd name="connsiteY5" fmla="*/ 54681 h 118872"/>
                  <a:gd name="connsiteX6" fmla="*/ 16825 w 73152"/>
                  <a:gd name="connsiteY6" fmla="*/ 58796 h 118872"/>
                  <a:gd name="connsiteX7" fmla="*/ 16825 w 73152"/>
                  <a:gd name="connsiteY7" fmla="*/ 95463 h 118872"/>
                  <a:gd name="connsiteX8" fmla="*/ 20391 w 73152"/>
                  <a:gd name="connsiteY8" fmla="*/ 99395 h 118872"/>
                  <a:gd name="connsiteX9" fmla="*/ 25237 w 73152"/>
                  <a:gd name="connsiteY9" fmla="*/ 103053 h 118872"/>
                  <a:gd name="connsiteX10" fmla="*/ 30907 w 73152"/>
                  <a:gd name="connsiteY10" fmla="*/ 105796 h 118872"/>
                  <a:gd name="connsiteX11" fmla="*/ 37216 w 73152"/>
                  <a:gd name="connsiteY11" fmla="*/ 106802 h 118872"/>
                  <a:gd name="connsiteX12" fmla="*/ 51389 w 73152"/>
                  <a:gd name="connsiteY12" fmla="*/ 99853 h 118872"/>
                  <a:gd name="connsiteX13" fmla="*/ 56053 w 73152"/>
                  <a:gd name="connsiteY13" fmla="*/ 79279 h 118872"/>
                  <a:gd name="connsiteX14" fmla="*/ 73152 w 73152"/>
                  <a:gd name="connsiteY14" fmla="*/ 78821 h 118872"/>
                  <a:gd name="connsiteX15" fmla="*/ 70317 w 73152"/>
                  <a:gd name="connsiteY15" fmla="*/ 98298 h 118872"/>
                  <a:gd name="connsiteX16" fmla="*/ 62728 w 73152"/>
                  <a:gd name="connsiteY16" fmla="*/ 112014 h 118872"/>
                  <a:gd name="connsiteX17" fmla="*/ 51755 w 73152"/>
                  <a:gd name="connsiteY17" fmla="*/ 120152 h 118872"/>
                  <a:gd name="connsiteX18" fmla="*/ 38862 w 73152"/>
                  <a:gd name="connsiteY18" fmla="*/ 122804 h 118872"/>
                  <a:gd name="connsiteX19" fmla="*/ 26609 w 73152"/>
                  <a:gd name="connsiteY19" fmla="*/ 119878 h 118872"/>
                  <a:gd name="connsiteX20" fmla="*/ 16916 w 73152"/>
                  <a:gd name="connsiteY20" fmla="*/ 112837 h 118872"/>
                  <a:gd name="connsiteX21" fmla="*/ 16916 w 73152"/>
                  <a:gd name="connsiteY21" fmla="*/ 120975 h 118872"/>
                  <a:gd name="connsiteX22" fmla="*/ 0 w 73152"/>
                  <a:gd name="connsiteY22" fmla="*/ 120975 h 118872"/>
                  <a:gd name="connsiteX23" fmla="*/ 0 w 73152"/>
                  <a:gd name="connsiteY23" fmla="*/ 8870 h 118872"/>
                  <a:gd name="connsiteX24" fmla="*/ 16916 w 73152"/>
                  <a:gd name="connsiteY24" fmla="*/ 0 h 118872"/>
                  <a:gd name="connsiteX25" fmla="*/ 16916 w 73152"/>
                  <a:gd name="connsiteY25" fmla="*/ 42154 h 118872"/>
                  <a:gd name="connsiteX26" fmla="*/ 21763 w 73152"/>
                  <a:gd name="connsiteY26" fmla="*/ 38222 h 118872"/>
                  <a:gd name="connsiteX27" fmla="*/ 26335 w 73152"/>
                  <a:gd name="connsiteY27" fmla="*/ 35296 h 118872"/>
                  <a:gd name="connsiteX28" fmla="*/ 32004 w 73152"/>
                  <a:gd name="connsiteY28" fmla="*/ 33010 h 118872"/>
                  <a:gd name="connsiteX29" fmla="*/ 39502 w 73152"/>
                  <a:gd name="connsiteY29" fmla="*/ 32095 h 118872"/>
                  <a:gd name="connsiteX30" fmla="*/ 52669 w 73152"/>
                  <a:gd name="connsiteY30" fmla="*/ 34747 h 118872"/>
                  <a:gd name="connsiteX31" fmla="*/ 63368 w 73152"/>
                  <a:gd name="connsiteY31" fmla="*/ 43068 h 118872"/>
                  <a:gd name="connsiteX32" fmla="*/ 70500 w 73152"/>
                  <a:gd name="connsiteY32" fmla="*/ 57607 h 118872"/>
                  <a:gd name="connsiteX33" fmla="*/ 73152 w 73152"/>
                  <a:gd name="connsiteY33" fmla="*/ 78821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152" h="118872">
                    <a:moveTo>
                      <a:pt x="56053" y="79279"/>
                    </a:moveTo>
                    <a:cubicBezTo>
                      <a:pt x="56053" y="68397"/>
                      <a:pt x="54407" y="60442"/>
                      <a:pt x="51024" y="55321"/>
                    </a:cubicBezTo>
                    <a:cubicBezTo>
                      <a:pt x="47640" y="50292"/>
                      <a:pt x="42794" y="47732"/>
                      <a:pt x="36485" y="47732"/>
                    </a:cubicBezTo>
                    <a:cubicBezTo>
                      <a:pt x="34473" y="47732"/>
                      <a:pt x="32461" y="48006"/>
                      <a:pt x="30632" y="48646"/>
                    </a:cubicBezTo>
                    <a:cubicBezTo>
                      <a:pt x="28804" y="49286"/>
                      <a:pt x="26975" y="50109"/>
                      <a:pt x="25329" y="51115"/>
                    </a:cubicBezTo>
                    <a:cubicBezTo>
                      <a:pt x="23592" y="52121"/>
                      <a:pt x="22037" y="53310"/>
                      <a:pt x="20665" y="54681"/>
                    </a:cubicBezTo>
                    <a:cubicBezTo>
                      <a:pt x="19202" y="56053"/>
                      <a:pt x="17922" y="57424"/>
                      <a:pt x="16825" y="58796"/>
                    </a:cubicBezTo>
                    <a:lnTo>
                      <a:pt x="16825" y="95463"/>
                    </a:lnTo>
                    <a:cubicBezTo>
                      <a:pt x="17831" y="96744"/>
                      <a:pt x="19020" y="98115"/>
                      <a:pt x="20391" y="99395"/>
                    </a:cubicBezTo>
                    <a:cubicBezTo>
                      <a:pt x="21854" y="100767"/>
                      <a:pt x="23409" y="101956"/>
                      <a:pt x="25237" y="103053"/>
                    </a:cubicBezTo>
                    <a:cubicBezTo>
                      <a:pt x="26975" y="104150"/>
                      <a:pt x="28895" y="105065"/>
                      <a:pt x="30907" y="105796"/>
                    </a:cubicBezTo>
                    <a:cubicBezTo>
                      <a:pt x="32918" y="106528"/>
                      <a:pt x="35022" y="106802"/>
                      <a:pt x="37216" y="106802"/>
                    </a:cubicBezTo>
                    <a:cubicBezTo>
                      <a:pt x="43434" y="106802"/>
                      <a:pt x="48097" y="104516"/>
                      <a:pt x="51389" y="99853"/>
                    </a:cubicBezTo>
                    <a:cubicBezTo>
                      <a:pt x="54498" y="95463"/>
                      <a:pt x="56053" y="88514"/>
                      <a:pt x="56053" y="79279"/>
                    </a:cubicBezTo>
                    <a:moveTo>
                      <a:pt x="73152" y="78821"/>
                    </a:moveTo>
                    <a:cubicBezTo>
                      <a:pt x="73152" y="86228"/>
                      <a:pt x="72238" y="92720"/>
                      <a:pt x="70317" y="98298"/>
                    </a:cubicBezTo>
                    <a:cubicBezTo>
                      <a:pt x="68397" y="103784"/>
                      <a:pt x="65928" y="108356"/>
                      <a:pt x="62728" y="112014"/>
                    </a:cubicBezTo>
                    <a:cubicBezTo>
                      <a:pt x="59527" y="115672"/>
                      <a:pt x="55961" y="118415"/>
                      <a:pt x="51755" y="120152"/>
                    </a:cubicBezTo>
                    <a:cubicBezTo>
                      <a:pt x="47732" y="121890"/>
                      <a:pt x="43343" y="122804"/>
                      <a:pt x="38862" y="122804"/>
                    </a:cubicBezTo>
                    <a:cubicBezTo>
                      <a:pt x="34656" y="122804"/>
                      <a:pt x="30541" y="121798"/>
                      <a:pt x="26609" y="119878"/>
                    </a:cubicBezTo>
                    <a:cubicBezTo>
                      <a:pt x="22677" y="117958"/>
                      <a:pt x="19477" y="115580"/>
                      <a:pt x="16916" y="112837"/>
                    </a:cubicBezTo>
                    <a:lnTo>
                      <a:pt x="16916" y="120975"/>
                    </a:lnTo>
                    <a:lnTo>
                      <a:pt x="0" y="120975"/>
                    </a:lnTo>
                    <a:lnTo>
                      <a:pt x="0" y="8870"/>
                    </a:lnTo>
                    <a:lnTo>
                      <a:pt x="16916" y="0"/>
                    </a:lnTo>
                    <a:lnTo>
                      <a:pt x="16916" y="42154"/>
                    </a:lnTo>
                    <a:cubicBezTo>
                      <a:pt x="18654" y="40508"/>
                      <a:pt x="20300" y="39228"/>
                      <a:pt x="21763" y="38222"/>
                    </a:cubicBezTo>
                    <a:cubicBezTo>
                      <a:pt x="23226" y="37216"/>
                      <a:pt x="24780" y="36210"/>
                      <a:pt x="26335" y="35296"/>
                    </a:cubicBezTo>
                    <a:cubicBezTo>
                      <a:pt x="27981" y="34381"/>
                      <a:pt x="29809" y="33650"/>
                      <a:pt x="32004" y="33010"/>
                    </a:cubicBezTo>
                    <a:cubicBezTo>
                      <a:pt x="34199" y="32370"/>
                      <a:pt x="36667" y="32095"/>
                      <a:pt x="39502" y="32095"/>
                    </a:cubicBezTo>
                    <a:cubicBezTo>
                      <a:pt x="44166" y="32095"/>
                      <a:pt x="48555" y="33010"/>
                      <a:pt x="52669" y="34747"/>
                    </a:cubicBezTo>
                    <a:cubicBezTo>
                      <a:pt x="56693" y="36485"/>
                      <a:pt x="60259" y="39228"/>
                      <a:pt x="63368" y="43068"/>
                    </a:cubicBezTo>
                    <a:cubicBezTo>
                      <a:pt x="66385" y="46817"/>
                      <a:pt x="68763" y="51664"/>
                      <a:pt x="70500" y="57607"/>
                    </a:cubicBezTo>
                    <a:cubicBezTo>
                      <a:pt x="72329" y="63368"/>
                      <a:pt x="73152" y="70500"/>
                      <a:pt x="73152" y="78821"/>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6" name="Freeform: Shape 345">
                <a:extLst>
                  <a:ext uri="{FF2B5EF4-FFF2-40B4-BE49-F238E27FC236}">
                    <a16:creationId xmlns:a16="http://schemas.microsoft.com/office/drawing/2014/main" id="{4F465AD9-7053-4AE7-8BDB-038CC9FFB2F5}"/>
                  </a:ext>
                </a:extLst>
              </p:cNvPr>
              <p:cNvSpPr/>
              <p:nvPr/>
            </p:nvSpPr>
            <p:spPr>
              <a:xfrm>
                <a:off x="1020780" y="6250656"/>
                <a:ext cx="73152" cy="82296"/>
              </a:xfrm>
              <a:custGeom>
                <a:avLst/>
                <a:gdLst>
                  <a:gd name="connsiteX0" fmla="*/ 57607 w 73152"/>
                  <a:gd name="connsiteY0" fmla="*/ 37216 h 82296"/>
                  <a:gd name="connsiteX1" fmla="*/ 56053 w 73152"/>
                  <a:gd name="connsiteY1" fmla="*/ 28804 h 82296"/>
                  <a:gd name="connsiteX2" fmla="*/ 52304 w 73152"/>
                  <a:gd name="connsiteY2" fmla="*/ 21854 h 82296"/>
                  <a:gd name="connsiteX3" fmla="*/ 46086 w 73152"/>
                  <a:gd name="connsiteY3" fmla="*/ 17099 h 82296"/>
                  <a:gd name="connsiteX4" fmla="*/ 37033 w 73152"/>
                  <a:gd name="connsiteY4" fmla="*/ 15362 h 82296"/>
                  <a:gd name="connsiteX5" fmla="*/ 29078 w 73152"/>
                  <a:gd name="connsiteY5" fmla="*/ 16825 h 82296"/>
                  <a:gd name="connsiteX6" fmla="*/ 23226 w 73152"/>
                  <a:gd name="connsiteY6" fmla="*/ 21031 h 82296"/>
                  <a:gd name="connsiteX7" fmla="*/ 19202 w 73152"/>
                  <a:gd name="connsiteY7" fmla="*/ 27798 h 82296"/>
                  <a:gd name="connsiteX8" fmla="*/ 17008 w 73152"/>
                  <a:gd name="connsiteY8" fmla="*/ 37125 h 82296"/>
                  <a:gd name="connsiteX9" fmla="*/ 57607 w 73152"/>
                  <a:gd name="connsiteY9" fmla="*/ 37125 h 82296"/>
                  <a:gd name="connsiteX10" fmla="*/ 74798 w 73152"/>
                  <a:gd name="connsiteY10" fmla="*/ 43525 h 82296"/>
                  <a:gd name="connsiteX11" fmla="*/ 74615 w 73152"/>
                  <a:gd name="connsiteY11" fmla="*/ 47915 h 82296"/>
                  <a:gd name="connsiteX12" fmla="*/ 74341 w 73152"/>
                  <a:gd name="connsiteY12" fmla="*/ 51298 h 82296"/>
                  <a:gd name="connsiteX13" fmla="*/ 16734 w 73152"/>
                  <a:gd name="connsiteY13" fmla="*/ 51298 h 82296"/>
                  <a:gd name="connsiteX14" fmla="*/ 19477 w 73152"/>
                  <a:gd name="connsiteY14" fmla="*/ 62088 h 82296"/>
                  <a:gd name="connsiteX15" fmla="*/ 24414 w 73152"/>
                  <a:gd name="connsiteY15" fmla="*/ 69494 h 82296"/>
                  <a:gd name="connsiteX16" fmla="*/ 30998 w 73152"/>
                  <a:gd name="connsiteY16" fmla="*/ 73792 h 82296"/>
                  <a:gd name="connsiteX17" fmla="*/ 38679 w 73152"/>
                  <a:gd name="connsiteY17" fmla="*/ 75164 h 82296"/>
                  <a:gd name="connsiteX18" fmla="*/ 43983 w 73152"/>
                  <a:gd name="connsiteY18" fmla="*/ 74706 h 82296"/>
                  <a:gd name="connsiteX19" fmla="*/ 48829 w 73152"/>
                  <a:gd name="connsiteY19" fmla="*/ 73243 h 82296"/>
                  <a:gd name="connsiteX20" fmla="*/ 52944 w 73152"/>
                  <a:gd name="connsiteY20" fmla="*/ 71232 h 82296"/>
                  <a:gd name="connsiteX21" fmla="*/ 57607 w 73152"/>
                  <a:gd name="connsiteY21" fmla="*/ 68214 h 82296"/>
                  <a:gd name="connsiteX22" fmla="*/ 67757 w 73152"/>
                  <a:gd name="connsiteY22" fmla="*/ 79096 h 82296"/>
                  <a:gd name="connsiteX23" fmla="*/ 61539 w 73152"/>
                  <a:gd name="connsiteY23" fmla="*/ 84033 h 82296"/>
                  <a:gd name="connsiteX24" fmla="*/ 55138 w 73152"/>
                  <a:gd name="connsiteY24" fmla="*/ 87417 h 82296"/>
                  <a:gd name="connsiteX25" fmla="*/ 47366 w 73152"/>
                  <a:gd name="connsiteY25" fmla="*/ 89703 h 82296"/>
                  <a:gd name="connsiteX26" fmla="*/ 37673 w 73152"/>
                  <a:gd name="connsiteY26" fmla="*/ 90708 h 82296"/>
                  <a:gd name="connsiteX27" fmla="*/ 27066 w 73152"/>
                  <a:gd name="connsiteY27" fmla="*/ 89154 h 82296"/>
                  <a:gd name="connsiteX28" fmla="*/ 18288 w 73152"/>
                  <a:gd name="connsiteY28" fmla="*/ 85039 h 82296"/>
                  <a:gd name="connsiteX29" fmla="*/ 11430 w 73152"/>
                  <a:gd name="connsiteY29" fmla="*/ 79187 h 82296"/>
                  <a:gd name="connsiteX30" fmla="*/ 5669 w 73152"/>
                  <a:gd name="connsiteY30" fmla="*/ 70775 h 82296"/>
                  <a:gd name="connsiteX31" fmla="*/ 1463 w 73152"/>
                  <a:gd name="connsiteY31" fmla="*/ 59253 h 82296"/>
                  <a:gd name="connsiteX32" fmla="*/ 0 w 73152"/>
                  <a:gd name="connsiteY32" fmla="*/ 45354 h 82296"/>
                  <a:gd name="connsiteX33" fmla="*/ 2835 w 73152"/>
                  <a:gd name="connsiteY33" fmla="*/ 25878 h 82296"/>
                  <a:gd name="connsiteX34" fmla="*/ 10607 w 73152"/>
                  <a:gd name="connsiteY34" fmla="*/ 11613 h 82296"/>
                  <a:gd name="connsiteX35" fmla="*/ 22677 w 73152"/>
                  <a:gd name="connsiteY35" fmla="*/ 2926 h 82296"/>
                  <a:gd name="connsiteX36" fmla="*/ 38131 w 73152"/>
                  <a:gd name="connsiteY36" fmla="*/ 0 h 82296"/>
                  <a:gd name="connsiteX37" fmla="*/ 54315 w 73152"/>
                  <a:gd name="connsiteY37" fmla="*/ 3566 h 82296"/>
                  <a:gd name="connsiteX38" fmla="*/ 65745 w 73152"/>
                  <a:gd name="connsiteY38" fmla="*/ 13076 h 82296"/>
                  <a:gd name="connsiteX39" fmla="*/ 72512 w 73152"/>
                  <a:gd name="connsiteY39" fmla="*/ 26975 h 82296"/>
                  <a:gd name="connsiteX40" fmla="*/ 74798 w 73152"/>
                  <a:gd name="connsiteY40" fmla="*/ 43525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216"/>
                    </a:moveTo>
                    <a:cubicBezTo>
                      <a:pt x="57333" y="34199"/>
                      <a:pt x="56876" y="31455"/>
                      <a:pt x="56053" y="28804"/>
                    </a:cubicBezTo>
                    <a:cubicBezTo>
                      <a:pt x="55230" y="26152"/>
                      <a:pt x="53950" y="23866"/>
                      <a:pt x="52304" y="21854"/>
                    </a:cubicBezTo>
                    <a:cubicBezTo>
                      <a:pt x="50658" y="19842"/>
                      <a:pt x="48555" y="18288"/>
                      <a:pt x="46086" y="17099"/>
                    </a:cubicBezTo>
                    <a:cubicBezTo>
                      <a:pt x="43525" y="15911"/>
                      <a:pt x="40599" y="15362"/>
                      <a:pt x="37033" y="15362"/>
                    </a:cubicBezTo>
                    <a:cubicBezTo>
                      <a:pt x="34016" y="15362"/>
                      <a:pt x="31364" y="15819"/>
                      <a:pt x="29078" y="16825"/>
                    </a:cubicBezTo>
                    <a:cubicBezTo>
                      <a:pt x="26792" y="17831"/>
                      <a:pt x="24872" y="19202"/>
                      <a:pt x="23226" y="21031"/>
                    </a:cubicBezTo>
                    <a:cubicBezTo>
                      <a:pt x="21580" y="22860"/>
                      <a:pt x="20300" y="25146"/>
                      <a:pt x="19202" y="27798"/>
                    </a:cubicBezTo>
                    <a:cubicBezTo>
                      <a:pt x="18105" y="30450"/>
                      <a:pt x="17465" y="33558"/>
                      <a:pt x="17008" y="37125"/>
                    </a:cubicBezTo>
                    <a:lnTo>
                      <a:pt x="57607" y="37125"/>
                    </a:lnTo>
                    <a:close/>
                    <a:moveTo>
                      <a:pt x="74798" y="43525"/>
                    </a:moveTo>
                    <a:cubicBezTo>
                      <a:pt x="74798" y="45080"/>
                      <a:pt x="74707" y="46543"/>
                      <a:pt x="74615" y="47915"/>
                    </a:cubicBezTo>
                    <a:cubicBezTo>
                      <a:pt x="74524" y="49286"/>
                      <a:pt x="74432" y="50383"/>
                      <a:pt x="74341" y="51298"/>
                    </a:cubicBezTo>
                    <a:lnTo>
                      <a:pt x="16734" y="51298"/>
                    </a:lnTo>
                    <a:cubicBezTo>
                      <a:pt x="17191" y="55504"/>
                      <a:pt x="18105" y="59070"/>
                      <a:pt x="19477" y="62088"/>
                    </a:cubicBezTo>
                    <a:cubicBezTo>
                      <a:pt x="20848" y="65105"/>
                      <a:pt x="22494" y="67574"/>
                      <a:pt x="24414" y="69494"/>
                    </a:cubicBezTo>
                    <a:cubicBezTo>
                      <a:pt x="26335" y="71415"/>
                      <a:pt x="28529" y="72878"/>
                      <a:pt x="30998" y="73792"/>
                    </a:cubicBezTo>
                    <a:cubicBezTo>
                      <a:pt x="33467" y="74706"/>
                      <a:pt x="36027" y="75164"/>
                      <a:pt x="38679" y="75164"/>
                    </a:cubicBezTo>
                    <a:cubicBezTo>
                      <a:pt x="40599" y="75164"/>
                      <a:pt x="42337" y="74981"/>
                      <a:pt x="43983" y="74706"/>
                    </a:cubicBezTo>
                    <a:cubicBezTo>
                      <a:pt x="45629" y="74432"/>
                      <a:pt x="47275" y="73884"/>
                      <a:pt x="48829" y="73243"/>
                    </a:cubicBezTo>
                    <a:cubicBezTo>
                      <a:pt x="50383" y="72603"/>
                      <a:pt x="51755" y="71963"/>
                      <a:pt x="52944" y="71232"/>
                    </a:cubicBezTo>
                    <a:cubicBezTo>
                      <a:pt x="54133" y="70592"/>
                      <a:pt x="55687" y="69586"/>
                      <a:pt x="57607" y="68214"/>
                    </a:cubicBezTo>
                    <a:lnTo>
                      <a:pt x="67757" y="79096"/>
                    </a:lnTo>
                    <a:cubicBezTo>
                      <a:pt x="65563" y="81107"/>
                      <a:pt x="63551" y="82845"/>
                      <a:pt x="61539" y="84033"/>
                    </a:cubicBezTo>
                    <a:cubicBezTo>
                      <a:pt x="59527" y="85314"/>
                      <a:pt x="57424" y="86411"/>
                      <a:pt x="55138" y="87417"/>
                    </a:cubicBezTo>
                    <a:cubicBezTo>
                      <a:pt x="52852" y="88422"/>
                      <a:pt x="50201" y="89154"/>
                      <a:pt x="47366" y="89703"/>
                    </a:cubicBezTo>
                    <a:cubicBezTo>
                      <a:pt x="44348" y="90434"/>
                      <a:pt x="41148" y="90708"/>
                      <a:pt x="37673" y="90708"/>
                    </a:cubicBezTo>
                    <a:cubicBezTo>
                      <a:pt x="33924" y="90708"/>
                      <a:pt x="30358" y="90160"/>
                      <a:pt x="27066" y="89154"/>
                    </a:cubicBezTo>
                    <a:cubicBezTo>
                      <a:pt x="23774" y="88057"/>
                      <a:pt x="20848" y="86685"/>
                      <a:pt x="18288" y="85039"/>
                    </a:cubicBezTo>
                    <a:cubicBezTo>
                      <a:pt x="15728" y="83302"/>
                      <a:pt x="13442" y="81382"/>
                      <a:pt x="11430" y="79187"/>
                    </a:cubicBezTo>
                    <a:cubicBezTo>
                      <a:pt x="9418" y="76992"/>
                      <a:pt x="7498" y="74158"/>
                      <a:pt x="5669" y="70775"/>
                    </a:cubicBezTo>
                    <a:cubicBezTo>
                      <a:pt x="3840" y="67300"/>
                      <a:pt x="2469" y="63551"/>
                      <a:pt x="1463" y="59253"/>
                    </a:cubicBezTo>
                    <a:cubicBezTo>
                      <a:pt x="457" y="55047"/>
                      <a:pt x="0" y="50383"/>
                      <a:pt x="0" y="45354"/>
                    </a:cubicBezTo>
                    <a:cubicBezTo>
                      <a:pt x="0" y="38039"/>
                      <a:pt x="914" y="31547"/>
                      <a:pt x="2835" y="25878"/>
                    </a:cubicBezTo>
                    <a:cubicBezTo>
                      <a:pt x="4663" y="20208"/>
                      <a:pt x="7315" y="15453"/>
                      <a:pt x="10607" y="11613"/>
                    </a:cubicBezTo>
                    <a:cubicBezTo>
                      <a:pt x="13899" y="7772"/>
                      <a:pt x="18014" y="4846"/>
                      <a:pt x="22677" y="2926"/>
                    </a:cubicBezTo>
                    <a:cubicBezTo>
                      <a:pt x="27341" y="914"/>
                      <a:pt x="32553" y="0"/>
                      <a:pt x="38131" y="0"/>
                    </a:cubicBezTo>
                    <a:cubicBezTo>
                      <a:pt x="44348" y="0"/>
                      <a:pt x="49743" y="1189"/>
                      <a:pt x="54315" y="3566"/>
                    </a:cubicBezTo>
                    <a:cubicBezTo>
                      <a:pt x="58887" y="5944"/>
                      <a:pt x="62728" y="9053"/>
                      <a:pt x="65745" y="13076"/>
                    </a:cubicBezTo>
                    <a:cubicBezTo>
                      <a:pt x="68763" y="17008"/>
                      <a:pt x="71049" y="21671"/>
                      <a:pt x="72512" y="26975"/>
                    </a:cubicBezTo>
                    <a:cubicBezTo>
                      <a:pt x="74066" y="32095"/>
                      <a:pt x="74798" y="37673"/>
                      <a:pt x="74798" y="43525"/>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7" name="Freeform: Shape 346">
                <a:extLst>
                  <a:ext uri="{FF2B5EF4-FFF2-40B4-BE49-F238E27FC236}">
                    <a16:creationId xmlns:a16="http://schemas.microsoft.com/office/drawing/2014/main" id="{EF04D99B-62DD-4473-B66F-8BB3414C6AB7}"/>
                  </a:ext>
                </a:extLst>
              </p:cNvPr>
              <p:cNvSpPr/>
              <p:nvPr/>
            </p:nvSpPr>
            <p:spPr>
              <a:xfrm>
                <a:off x="1105179" y="6218652"/>
                <a:ext cx="45720" cy="118872"/>
              </a:xfrm>
              <a:custGeom>
                <a:avLst/>
                <a:gdLst>
                  <a:gd name="connsiteX0" fmla="*/ 48738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9 w 45720"/>
                  <a:gd name="connsiteY20" fmla="*/ 106619 h 118872"/>
                  <a:gd name="connsiteX21" fmla="*/ 38222 w 45720"/>
                  <a:gd name="connsiteY21" fmla="*/ 107076 h 118872"/>
                  <a:gd name="connsiteX22" fmla="*/ 44989 w 45720"/>
                  <a:gd name="connsiteY22" fmla="*/ 106070 h 118872"/>
                  <a:gd name="connsiteX23" fmla="*/ 50749 w 45720"/>
                  <a:gd name="connsiteY23" fmla="*/ 103602 h 118872"/>
                  <a:gd name="connsiteX24" fmla="*/ 48738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8" y="118689"/>
                    </a:moveTo>
                    <a:cubicBezTo>
                      <a:pt x="46634" y="119878"/>
                      <a:pt x="44166" y="120884"/>
                      <a:pt x="41331" y="121615"/>
                    </a:cubicBezTo>
                    <a:cubicBezTo>
                      <a:pt x="38496" y="122347"/>
                      <a:pt x="35387" y="122712"/>
                      <a:pt x="32004" y="122712"/>
                    </a:cubicBezTo>
                    <a:cubicBezTo>
                      <a:pt x="29078" y="122712"/>
                      <a:pt x="26426" y="122255"/>
                      <a:pt x="24232" y="121432"/>
                    </a:cubicBezTo>
                    <a:cubicBezTo>
                      <a:pt x="22037"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2961"/>
                      <a:pt x="30632" y="104059"/>
                      <a:pt x="31364" y="104882"/>
                    </a:cubicBezTo>
                    <a:cubicBezTo>
                      <a:pt x="32095" y="105705"/>
                      <a:pt x="33010" y="106253"/>
                      <a:pt x="34199" y="106619"/>
                    </a:cubicBezTo>
                    <a:cubicBezTo>
                      <a:pt x="35296" y="106893"/>
                      <a:pt x="36667" y="107076"/>
                      <a:pt x="38222" y="107076"/>
                    </a:cubicBezTo>
                    <a:cubicBezTo>
                      <a:pt x="40417" y="107076"/>
                      <a:pt x="42703" y="106710"/>
                      <a:pt x="44989" y="106070"/>
                    </a:cubicBezTo>
                    <a:cubicBezTo>
                      <a:pt x="47275" y="105339"/>
                      <a:pt x="49195" y="104516"/>
                      <a:pt x="50749" y="103602"/>
                    </a:cubicBezTo>
                    <a:lnTo>
                      <a:pt x="48738"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8" name="Freeform: Shape 347">
                <a:extLst>
                  <a:ext uri="{FF2B5EF4-FFF2-40B4-BE49-F238E27FC236}">
                    <a16:creationId xmlns:a16="http://schemas.microsoft.com/office/drawing/2014/main" id="{FA2B1462-4801-414E-B33A-2749276778DD}"/>
                  </a:ext>
                </a:extLst>
              </p:cNvPr>
              <p:cNvSpPr/>
              <p:nvPr/>
            </p:nvSpPr>
            <p:spPr>
              <a:xfrm>
                <a:off x="1166170" y="6218652"/>
                <a:ext cx="45720" cy="118872"/>
              </a:xfrm>
              <a:custGeom>
                <a:avLst/>
                <a:gdLst>
                  <a:gd name="connsiteX0" fmla="*/ 48738 w 45720"/>
                  <a:gd name="connsiteY0" fmla="*/ 118689 h 118872"/>
                  <a:gd name="connsiteX1" fmla="*/ 41331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658 w 45720"/>
                  <a:gd name="connsiteY14" fmla="*/ 33833 h 118872"/>
                  <a:gd name="connsiteX15" fmla="*/ 50658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07 w 45720"/>
                  <a:gd name="connsiteY20" fmla="*/ 106619 h 118872"/>
                  <a:gd name="connsiteX21" fmla="*/ 38131 w 45720"/>
                  <a:gd name="connsiteY21" fmla="*/ 107076 h 118872"/>
                  <a:gd name="connsiteX22" fmla="*/ 44897 w 45720"/>
                  <a:gd name="connsiteY22" fmla="*/ 106070 h 118872"/>
                  <a:gd name="connsiteX23" fmla="*/ 50658 w 45720"/>
                  <a:gd name="connsiteY23" fmla="*/ 103602 h 118872"/>
                  <a:gd name="connsiteX24" fmla="*/ 48738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738" y="118689"/>
                    </a:moveTo>
                    <a:cubicBezTo>
                      <a:pt x="46634" y="119878"/>
                      <a:pt x="44166" y="120884"/>
                      <a:pt x="41331" y="121615"/>
                    </a:cubicBezTo>
                    <a:cubicBezTo>
                      <a:pt x="38496" y="122347"/>
                      <a:pt x="35387" y="122712"/>
                      <a:pt x="32004" y="122712"/>
                    </a:cubicBezTo>
                    <a:cubicBezTo>
                      <a:pt x="29078" y="122712"/>
                      <a:pt x="26426" y="122255"/>
                      <a:pt x="24232" y="121432"/>
                    </a:cubicBezTo>
                    <a:cubicBezTo>
                      <a:pt x="21946"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658" y="33833"/>
                    </a:lnTo>
                    <a:lnTo>
                      <a:pt x="50658" y="49378"/>
                    </a:lnTo>
                    <a:lnTo>
                      <a:pt x="29169" y="49378"/>
                    </a:lnTo>
                    <a:lnTo>
                      <a:pt x="29169" y="96652"/>
                    </a:lnTo>
                    <a:cubicBezTo>
                      <a:pt x="29169" y="98664"/>
                      <a:pt x="29352" y="100401"/>
                      <a:pt x="29718" y="101681"/>
                    </a:cubicBezTo>
                    <a:cubicBezTo>
                      <a:pt x="30084" y="102961"/>
                      <a:pt x="30632" y="104059"/>
                      <a:pt x="31364" y="104882"/>
                    </a:cubicBezTo>
                    <a:cubicBezTo>
                      <a:pt x="32095" y="105705"/>
                      <a:pt x="33010" y="106253"/>
                      <a:pt x="34107" y="106619"/>
                    </a:cubicBezTo>
                    <a:cubicBezTo>
                      <a:pt x="35204" y="106893"/>
                      <a:pt x="36576" y="107076"/>
                      <a:pt x="38131" y="107076"/>
                    </a:cubicBezTo>
                    <a:cubicBezTo>
                      <a:pt x="40325" y="107076"/>
                      <a:pt x="42611" y="106710"/>
                      <a:pt x="44897" y="106070"/>
                    </a:cubicBezTo>
                    <a:cubicBezTo>
                      <a:pt x="47183" y="105339"/>
                      <a:pt x="49103" y="104516"/>
                      <a:pt x="50658" y="103602"/>
                    </a:cubicBezTo>
                    <a:lnTo>
                      <a:pt x="48738"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9" name="Freeform: Shape 348">
                <a:extLst>
                  <a:ext uri="{FF2B5EF4-FFF2-40B4-BE49-F238E27FC236}">
                    <a16:creationId xmlns:a16="http://schemas.microsoft.com/office/drawing/2014/main" id="{8D512884-2235-4185-8CB9-37A9315001D1}"/>
                  </a:ext>
                </a:extLst>
              </p:cNvPr>
              <p:cNvSpPr/>
              <p:nvPr/>
            </p:nvSpPr>
            <p:spPr>
              <a:xfrm>
                <a:off x="1229263" y="6250656"/>
                <a:ext cx="73152" cy="82296"/>
              </a:xfrm>
              <a:custGeom>
                <a:avLst/>
                <a:gdLst>
                  <a:gd name="connsiteX0" fmla="*/ 57607 w 73152"/>
                  <a:gd name="connsiteY0" fmla="*/ 37216 h 82296"/>
                  <a:gd name="connsiteX1" fmla="*/ 56053 w 73152"/>
                  <a:gd name="connsiteY1" fmla="*/ 28804 h 82296"/>
                  <a:gd name="connsiteX2" fmla="*/ 52304 w 73152"/>
                  <a:gd name="connsiteY2" fmla="*/ 21854 h 82296"/>
                  <a:gd name="connsiteX3" fmla="*/ 46086 w 73152"/>
                  <a:gd name="connsiteY3" fmla="*/ 17099 h 82296"/>
                  <a:gd name="connsiteX4" fmla="*/ 37033 w 73152"/>
                  <a:gd name="connsiteY4" fmla="*/ 15362 h 82296"/>
                  <a:gd name="connsiteX5" fmla="*/ 29078 w 73152"/>
                  <a:gd name="connsiteY5" fmla="*/ 16825 h 82296"/>
                  <a:gd name="connsiteX6" fmla="*/ 23226 w 73152"/>
                  <a:gd name="connsiteY6" fmla="*/ 21031 h 82296"/>
                  <a:gd name="connsiteX7" fmla="*/ 19202 w 73152"/>
                  <a:gd name="connsiteY7" fmla="*/ 27798 h 82296"/>
                  <a:gd name="connsiteX8" fmla="*/ 17008 w 73152"/>
                  <a:gd name="connsiteY8" fmla="*/ 37125 h 82296"/>
                  <a:gd name="connsiteX9" fmla="*/ 57607 w 73152"/>
                  <a:gd name="connsiteY9" fmla="*/ 37125 h 82296"/>
                  <a:gd name="connsiteX10" fmla="*/ 74798 w 73152"/>
                  <a:gd name="connsiteY10" fmla="*/ 43525 h 82296"/>
                  <a:gd name="connsiteX11" fmla="*/ 74615 w 73152"/>
                  <a:gd name="connsiteY11" fmla="*/ 47915 h 82296"/>
                  <a:gd name="connsiteX12" fmla="*/ 74341 w 73152"/>
                  <a:gd name="connsiteY12" fmla="*/ 51298 h 82296"/>
                  <a:gd name="connsiteX13" fmla="*/ 16734 w 73152"/>
                  <a:gd name="connsiteY13" fmla="*/ 51298 h 82296"/>
                  <a:gd name="connsiteX14" fmla="*/ 19477 w 73152"/>
                  <a:gd name="connsiteY14" fmla="*/ 62088 h 82296"/>
                  <a:gd name="connsiteX15" fmla="*/ 24414 w 73152"/>
                  <a:gd name="connsiteY15" fmla="*/ 69494 h 82296"/>
                  <a:gd name="connsiteX16" fmla="*/ 30998 w 73152"/>
                  <a:gd name="connsiteY16" fmla="*/ 73792 h 82296"/>
                  <a:gd name="connsiteX17" fmla="*/ 38679 w 73152"/>
                  <a:gd name="connsiteY17" fmla="*/ 75164 h 82296"/>
                  <a:gd name="connsiteX18" fmla="*/ 43983 w 73152"/>
                  <a:gd name="connsiteY18" fmla="*/ 74706 h 82296"/>
                  <a:gd name="connsiteX19" fmla="*/ 48829 w 73152"/>
                  <a:gd name="connsiteY19" fmla="*/ 73243 h 82296"/>
                  <a:gd name="connsiteX20" fmla="*/ 52944 w 73152"/>
                  <a:gd name="connsiteY20" fmla="*/ 71232 h 82296"/>
                  <a:gd name="connsiteX21" fmla="*/ 57607 w 73152"/>
                  <a:gd name="connsiteY21" fmla="*/ 68214 h 82296"/>
                  <a:gd name="connsiteX22" fmla="*/ 67757 w 73152"/>
                  <a:gd name="connsiteY22" fmla="*/ 79096 h 82296"/>
                  <a:gd name="connsiteX23" fmla="*/ 61539 w 73152"/>
                  <a:gd name="connsiteY23" fmla="*/ 84033 h 82296"/>
                  <a:gd name="connsiteX24" fmla="*/ 55138 w 73152"/>
                  <a:gd name="connsiteY24" fmla="*/ 87417 h 82296"/>
                  <a:gd name="connsiteX25" fmla="*/ 47366 w 73152"/>
                  <a:gd name="connsiteY25" fmla="*/ 89703 h 82296"/>
                  <a:gd name="connsiteX26" fmla="*/ 37673 w 73152"/>
                  <a:gd name="connsiteY26" fmla="*/ 90708 h 82296"/>
                  <a:gd name="connsiteX27" fmla="*/ 27066 w 73152"/>
                  <a:gd name="connsiteY27" fmla="*/ 89154 h 82296"/>
                  <a:gd name="connsiteX28" fmla="*/ 18288 w 73152"/>
                  <a:gd name="connsiteY28" fmla="*/ 85039 h 82296"/>
                  <a:gd name="connsiteX29" fmla="*/ 11430 w 73152"/>
                  <a:gd name="connsiteY29" fmla="*/ 79187 h 82296"/>
                  <a:gd name="connsiteX30" fmla="*/ 5669 w 73152"/>
                  <a:gd name="connsiteY30" fmla="*/ 70775 h 82296"/>
                  <a:gd name="connsiteX31" fmla="*/ 1463 w 73152"/>
                  <a:gd name="connsiteY31" fmla="*/ 59253 h 82296"/>
                  <a:gd name="connsiteX32" fmla="*/ 0 w 73152"/>
                  <a:gd name="connsiteY32" fmla="*/ 45354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98 w 73152"/>
                  <a:gd name="connsiteY40" fmla="*/ 43525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607" y="37216"/>
                    </a:moveTo>
                    <a:cubicBezTo>
                      <a:pt x="57333" y="34199"/>
                      <a:pt x="56876" y="31455"/>
                      <a:pt x="56053" y="28804"/>
                    </a:cubicBezTo>
                    <a:cubicBezTo>
                      <a:pt x="55230" y="26152"/>
                      <a:pt x="53950" y="23866"/>
                      <a:pt x="52304" y="21854"/>
                    </a:cubicBezTo>
                    <a:cubicBezTo>
                      <a:pt x="50658" y="19842"/>
                      <a:pt x="48555" y="18288"/>
                      <a:pt x="46086" y="17099"/>
                    </a:cubicBezTo>
                    <a:cubicBezTo>
                      <a:pt x="43525" y="15911"/>
                      <a:pt x="40599" y="15362"/>
                      <a:pt x="37033" y="15362"/>
                    </a:cubicBezTo>
                    <a:cubicBezTo>
                      <a:pt x="34016" y="15362"/>
                      <a:pt x="31364" y="15819"/>
                      <a:pt x="29078" y="16825"/>
                    </a:cubicBezTo>
                    <a:cubicBezTo>
                      <a:pt x="26792" y="17831"/>
                      <a:pt x="24872" y="19202"/>
                      <a:pt x="23226" y="21031"/>
                    </a:cubicBezTo>
                    <a:cubicBezTo>
                      <a:pt x="21580" y="22860"/>
                      <a:pt x="20300" y="25146"/>
                      <a:pt x="19202" y="27798"/>
                    </a:cubicBezTo>
                    <a:cubicBezTo>
                      <a:pt x="18105" y="30450"/>
                      <a:pt x="17465" y="33558"/>
                      <a:pt x="17008" y="37125"/>
                    </a:cubicBezTo>
                    <a:lnTo>
                      <a:pt x="57607" y="37125"/>
                    </a:lnTo>
                    <a:close/>
                    <a:moveTo>
                      <a:pt x="74798" y="43525"/>
                    </a:moveTo>
                    <a:cubicBezTo>
                      <a:pt x="74798" y="45080"/>
                      <a:pt x="74706" y="46543"/>
                      <a:pt x="74615" y="47915"/>
                    </a:cubicBezTo>
                    <a:cubicBezTo>
                      <a:pt x="74524" y="49286"/>
                      <a:pt x="74432" y="50383"/>
                      <a:pt x="74341" y="51298"/>
                    </a:cubicBezTo>
                    <a:lnTo>
                      <a:pt x="16734" y="51298"/>
                    </a:lnTo>
                    <a:cubicBezTo>
                      <a:pt x="17191" y="55504"/>
                      <a:pt x="18105" y="59070"/>
                      <a:pt x="19477" y="62088"/>
                    </a:cubicBezTo>
                    <a:cubicBezTo>
                      <a:pt x="20848" y="65105"/>
                      <a:pt x="22494" y="67574"/>
                      <a:pt x="24414" y="69494"/>
                    </a:cubicBezTo>
                    <a:cubicBezTo>
                      <a:pt x="26335" y="71415"/>
                      <a:pt x="28529" y="72878"/>
                      <a:pt x="30998" y="73792"/>
                    </a:cubicBezTo>
                    <a:cubicBezTo>
                      <a:pt x="33467" y="74706"/>
                      <a:pt x="36027" y="75164"/>
                      <a:pt x="38679" y="75164"/>
                    </a:cubicBezTo>
                    <a:cubicBezTo>
                      <a:pt x="40599" y="75164"/>
                      <a:pt x="42337" y="74981"/>
                      <a:pt x="43983" y="74706"/>
                    </a:cubicBezTo>
                    <a:cubicBezTo>
                      <a:pt x="45629" y="74432"/>
                      <a:pt x="47274" y="73884"/>
                      <a:pt x="48829" y="73243"/>
                    </a:cubicBezTo>
                    <a:cubicBezTo>
                      <a:pt x="50383" y="72603"/>
                      <a:pt x="51755" y="71963"/>
                      <a:pt x="52944" y="71232"/>
                    </a:cubicBezTo>
                    <a:cubicBezTo>
                      <a:pt x="54132" y="70592"/>
                      <a:pt x="55687" y="69586"/>
                      <a:pt x="57607" y="68214"/>
                    </a:cubicBezTo>
                    <a:lnTo>
                      <a:pt x="67757" y="79096"/>
                    </a:lnTo>
                    <a:cubicBezTo>
                      <a:pt x="65562" y="81107"/>
                      <a:pt x="63551" y="82845"/>
                      <a:pt x="61539" y="84033"/>
                    </a:cubicBezTo>
                    <a:cubicBezTo>
                      <a:pt x="59527" y="85314"/>
                      <a:pt x="57424" y="86411"/>
                      <a:pt x="55138" y="87417"/>
                    </a:cubicBezTo>
                    <a:cubicBezTo>
                      <a:pt x="52852" y="88422"/>
                      <a:pt x="50201" y="89154"/>
                      <a:pt x="47366" y="89703"/>
                    </a:cubicBezTo>
                    <a:cubicBezTo>
                      <a:pt x="44348" y="90434"/>
                      <a:pt x="41148" y="90708"/>
                      <a:pt x="37673" y="90708"/>
                    </a:cubicBezTo>
                    <a:cubicBezTo>
                      <a:pt x="33924" y="90708"/>
                      <a:pt x="30358" y="90160"/>
                      <a:pt x="27066" y="89154"/>
                    </a:cubicBezTo>
                    <a:cubicBezTo>
                      <a:pt x="23774" y="88057"/>
                      <a:pt x="20848" y="86685"/>
                      <a:pt x="18288" y="85039"/>
                    </a:cubicBezTo>
                    <a:cubicBezTo>
                      <a:pt x="15728" y="83302"/>
                      <a:pt x="13442" y="81382"/>
                      <a:pt x="11430" y="79187"/>
                    </a:cubicBezTo>
                    <a:cubicBezTo>
                      <a:pt x="9418" y="76992"/>
                      <a:pt x="7498" y="74158"/>
                      <a:pt x="5669" y="70775"/>
                    </a:cubicBezTo>
                    <a:cubicBezTo>
                      <a:pt x="3840" y="67300"/>
                      <a:pt x="2377" y="63551"/>
                      <a:pt x="1463" y="59253"/>
                    </a:cubicBezTo>
                    <a:cubicBezTo>
                      <a:pt x="457" y="55047"/>
                      <a:pt x="0" y="50383"/>
                      <a:pt x="0" y="45354"/>
                    </a:cubicBezTo>
                    <a:cubicBezTo>
                      <a:pt x="0" y="38039"/>
                      <a:pt x="914" y="31547"/>
                      <a:pt x="2835" y="25878"/>
                    </a:cubicBezTo>
                    <a:cubicBezTo>
                      <a:pt x="4663" y="20208"/>
                      <a:pt x="7315" y="15453"/>
                      <a:pt x="10698" y="11613"/>
                    </a:cubicBezTo>
                    <a:cubicBezTo>
                      <a:pt x="14082" y="7772"/>
                      <a:pt x="18105"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4066" y="32095"/>
                      <a:pt x="74798" y="37673"/>
                      <a:pt x="74798" y="43525"/>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0" name="Freeform: Shape 349">
                <a:extLst>
                  <a:ext uri="{FF2B5EF4-FFF2-40B4-BE49-F238E27FC236}">
                    <a16:creationId xmlns:a16="http://schemas.microsoft.com/office/drawing/2014/main" id="{43060B34-53A9-41A2-91B4-6DECB3F8F49D}"/>
                  </a:ext>
                </a:extLst>
              </p:cNvPr>
              <p:cNvSpPr/>
              <p:nvPr/>
            </p:nvSpPr>
            <p:spPr>
              <a:xfrm>
                <a:off x="1322075" y="6250564"/>
                <a:ext cx="45720" cy="82296"/>
              </a:xfrm>
              <a:custGeom>
                <a:avLst/>
                <a:gdLst>
                  <a:gd name="connsiteX0" fmla="*/ 47183 w 45720"/>
                  <a:gd name="connsiteY0" fmla="*/ 19934 h 82296"/>
                  <a:gd name="connsiteX1" fmla="*/ 41422 w 45720"/>
                  <a:gd name="connsiteY1" fmla="*/ 17556 h 82296"/>
                  <a:gd name="connsiteX2" fmla="*/ 34199 w 45720"/>
                  <a:gd name="connsiteY2" fmla="*/ 16734 h 82296"/>
                  <a:gd name="connsiteX3" fmla="*/ 21580 w 45720"/>
                  <a:gd name="connsiteY3" fmla="*/ 22403 h 82296"/>
                  <a:gd name="connsiteX4" fmla="*/ 17099 w 45720"/>
                  <a:gd name="connsiteY4" fmla="*/ 39228 h 82296"/>
                  <a:gd name="connsiteX5" fmla="*/ 17099 w 45720"/>
                  <a:gd name="connsiteY5" fmla="*/ 88971 h 82296"/>
                  <a:gd name="connsiteX6" fmla="*/ 0 w 45720"/>
                  <a:gd name="connsiteY6" fmla="*/ 88971 h 82296"/>
                  <a:gd name="connsiteX7" fmla="*/ 0 w 45720"/>
                  <a:gd name="connsiteY7" fmla="*/ 1920 h 82296"/>
                  <a:gd name="connsiteX8" fmla="*/ 17099 w 45720"/>
                  <a:gd name="connsiteY8" fmla="*/ 1920 h 82296"/>
                  <a:gd name="connsiteX9" fmla="*/ 17099 w 45720"/>
                  <a:gd name="connsiteY9" fmla="*/ 10150 h 82296"/>
                  <a:gd name="connsiteX10" fmla="*/ 20665 w 45720"/>
                  <a:gd name="connsiteY10" fmla="*/ 6126 h 82296"/>
                  <a:gd name="connsiteX11" fmla="*/ 25329 w 45720"/>
                  <a:gd name="connsiteY11" fmla="*/ 2926 h 82296"/>
                  <a:gd name="connsiteX12" fmla="*/ 30815 w 45720"/>
                  <a:gd name="connsiteY12" fmla="*/ 732 h 82296"/>
                  <a:gd name="connsiteX13" fmla="*/ 36942 w 45720"/>
                  <a:gd name="connsiteY13" fmla="*/ 0 h 82296"/>
                  <a:gd name="connsiteX14" fmla="*/ 45720 w 45720"/>
                  <a:gd name="connsiteY14" fmla="*/ 1006 h 82296"/>
                  <a:gd name="connsiteX15" fmla="*/ 51755 w 45720"/>
                  <a:gd name="connsiteY15" fmla="*/ 3658 h 82296"/>
                  <a:gd name="connsiteX16" fmla="*/ 47183 w 45720"/>
                  <a:gd name="connsiteY16" fmla="*/ 19934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 h="82296">
                    <a:moveTo>
                      <a:pt x="47183" y="19934"/>
                    </a:moveTo>
                    <a:cubicBezTo>
                      <a:pt x="45354" y="18928"/>
                      <a:pt x="43434" y="18105"/>
                      <a:pt x="41422" y="17556"/>
                    </a:cubicBezTo>
                    <a:cubicBezTo>
                      <a:pt x="39411" y="17008"/>
                      <a:pt x="36942" y="16734"/>
                      <a:pt x="34199" y="16734"/>
                    </a:cubicBezTo>
                    <a:cubicBezTo>
                      <a:pt x="28712" y="16734"/>
                      <a:pt x="24506" y="18562"/>
                      <a:pt x="21580" y="22403"/>
                    </a:cubicBezTo>
                    <a:cubicBezTo>
                      <a:pt x="18562" y="26152"/>
                      <a:pt x="17099" y="31730"/>
                      <a:pt x="17099" y="39228"/>
                    </a:cubicBezTo>
                    <a:lnTo>
                      <a:pt x="17099" y="88971"/>
                    </a:lnTo>
                    <a:lnTo>
                      <a:pt x="0" y="88971"/>
                    </a:lnTo>
                    <a:lnTo>
                      <a:pt x="0" y="1920"/>
                    </a:lnTo>
                    <a:lnTo>
                      <a:pt x="17099" y="1920"/>
                    </a:lnTo>
                    <a:lnTo>
                      <a:pt x="17099" y="10150"/>
                    </a:lnTo>
                    <a:cubicBezTo>
                      <a:pt x="18105" y="8687"/>
                      <a:pt x="19294" y="7315"/>
                      <a:pt x="20665" y="6126"/>
                    </a:cubicBezTo>
                    <a:cubicBezTo>
                      <a:pt x="22037" y="4938"/>
                      <a:pt x="23592" y="3840"/>
                      <a:pt x="25329" y="2926"/>
                    </a:cubicBezTo>
                    <a:cubicBezTo>
                      <a:pt x="27066" y="2012"/>
                      <a:pt x="28895" y="1280"/>
                      <a:pt x="30815" y="732"/>
                    </a:cubicBezTo>
                    <a:cubicBezTo>
                      <a:pt x="32736" y="183"/>
                      <a:pt x="34839" y="0"/>
                      <a:pt x="36942" y="0"/>
                    </a:cubicBezTo>
                    <a:cubicBezTo>
                      <a:pt x="40416" y="0"/>
                      <a:pt x="43343" y="366"/>
                      <a:pt x="45720" y="1006"/>
                    </a:cubicBezTo>
                    <a:cubicBezTo>
                      <a:pt x="48006" y="1646"/>
                      <a:pt x="50109" y="2560"/>
                      <a:pt x="51755" y="3658"/>
                    </a:cubicBezTo>
                    <a:lnTo>
                      <a:pt x="47183" y="1993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1" name="Freeform: Shape 350">
                <a:extLst>
                  <a:ext uri="{FF2B5EF4-FFF2-40B4-BE49-F238E27FC236}">
                    <a16:creationId xmlns:a16="http://schemas.microsoft.com/office/drawing/2014/main" id="{06FE490E-724A-4492-9DF0-7DEADEF438A0}"/>
                  </a:ext>
                </a:extLst>
              </p:cNvPr>
              <p:cNvSpPr/>
              <p:nvPr/>
            </p:nvSpPr>
            <p:spPr>
              <a:xfrm>
                <a:off x="1422385" y="6218652"/>
                <a:ext cx="45720" cy="118872"/>
              </a:xfrm>
              <a:custGeom>
                <a:avLst/>
                <a:gdLst>
                  <a:gd name="connsiteX0" fmla="*/ 48829 w 45720"/>
                  <a:gd name="connsiteY0" fmla="*/ 118689 h 118872"/>
                  <a:gd name="connsiteX1" fmla="*/ 41422 w 45720"/>
                  <a:gd name="connsiteY1" fmla="*/ 121615 h 118872"/>
                  <a:gd name="connsiteX2" fmla="*/ 32004 w 45720"/>
                  <a:gd name="connsiteY2" fmla="*/ 122712 h 118872"/>
                  <a:gd name="connsiteX3" fmla="*/ 24232 w 45720"/>
                  <a:gd name="connsiteY3" fmla="*/ 121432 h 118872"/>
                  <a:gd name="connsiteX4" fmla="*/ 18105 w 45720"/>
                  <a:gd name="connsiteY4" fmla="*/ 117500 h 118872"/>
                  <a:gd name="connsiteX5" fmla="*/ 13899 w 45720"/>
                  <a:gd name="connsiteY5" fmla="*/ 110368 h 118872"/>
                  <a:gd name="connsiteX6" fmla="*/ 12436 w 45720"/>
                  <a:gd name="connsiteY6" fmla="*/ 99670 h 118872"/>
                  <a:gd name="connsiteX7" fmla="*/ 12436 w 45720"/>
                  <a:gd name="connsiteY7" fmla="*/ 49378 h 118872"/>
                  <a:gd name="connsiteX8" fmla="*/ 0 w 45720"/>
                  <a:gd name="connsiteY8" fmla="*/ 49378 h 118872"/>
                  <a:gd name="connsiteX9" fmla="*/ 0 w 45720"/>
                  <a:gd name="connsiteY9" fmla="*/ 33833 h 118872"/>
                  <a:gd name="connsiteX10" fmla="*/ 12436 w 45720"/>
                  <a:gd name="connsiteY10" fmla="*/ 33833 h 118872"/>
                  <a:gd name="connsiteX11" fmla="*/ 12436 w 45720"/>
                  <a:gd name="connsiteY11" fmla="*/ 8961 h 118872"/>
                  <a:gd name="connsiteX12" fmla="*/ 29169 w 45720"/>
                  <a:gd name="connsiteY12" fmla="*/ 0 h 118872"/>
                  <a:gd name="connsiteX13" fmla="*/ 29169 w 45720"/>
                  <a:gd name="connsiteY13" fmla="*/ 33833 h 118872"/>
                  <a:gd name="connsiteX14" fmla="*/ 50749 w 45720"/>
                  <a:gd name="connsiteY14" fmla="*/ 33833 h 118872"/>
                  <a:gd name="connsiteX15" fmla="*/ 50749 w 45720"/>
                  <a:gd name="connsiteY15" fmla="*/ 49378 h 118872"/>
                  <a:gd name="connsiteX16" fmla="*/ 29169 w 45720"/>
                  <a:gd name="connsiteY16" fmla="*/ 49378 h 118872"/>
                  <a:gd name="connsiteX17" fmla="*/ 29169 w 45720"/>
                  <a:gd name="connsiteY17" fmla="*/ 96652 h 118872"/>
                  <a:gd name="connsiteX18" fmla="*/ 29718 w 45720"/>
                  <a:gd name="connsiteY18" fmla="*/ 101681 h 118872"/>
                  <a:gd name="connsiteX19" fmla="*/ 31364 w 45720"/>
                  <a:gd name="connsiteY19" fmla="*/ 104882 h 118872"/>
                  <a:gd name="connsiteX20" fmla="*/ 34199 w 45720"/>
                  <a:gd name="connsiteY20" fmla="*/ 106619 h 118872"/>
                  <a:gd name="connsiteX21" fmla="*/ 38222 w 45720"/>
                  <a:gd name="connsiteY21" fmla="*/ 107076 h 118872"/>
                  <a:gd name="connsiteX22" fmla="*/ 44988 w 45720"/>
                  <a:gd name="connsiteY22" fmla="*/ 106070 h 118872"/>
                  <a:gd name="connsiteX23" fmla="*/ 50749 w 45720"/>
                  <a:gd name="connsiteY23" fmla="*/ 103602 h 118872"/>
                  <a:gd name="connsiteX24" fmla="*/ 48829 w 45720"/>
                  <a:gd name="connsiteY24" fmla="*/ 118689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 h="118872">
                    <a:moveTo>
                      <a:pt x="48829" y="118689"/>
                    </a:moveTo>
                    <a:cubicBezTo>
                      <a:pt x="46726" y="119878"/>
                      <a:pt x="44257" y="120884"/>
                      <a:pt x="41422" y="121615"/>
                    </a:cubicBezTo>
                    <a:cubicBezTo>
                      <a:pt x="38588" y="122347"/>
                      <a:pt x="35479" y="122712"/>
                      <a:pt x="32004" y="122712"/>
                    </a:cubicBezTo>
                    <a:cubicBezTo>
                      <a:pt x="29078" y="122712"/>
                      <a:pt x="26426" y="122255"/>
                      <a:pt x="24232" y="121432"/>
                    </a:cubicBezTo>
                    <a:cubicBezTo>
                      <a:pt x="21946" y="120609"/>
                      <a:pt x="19934" y="119238"/>
                      <a:pt x="18105" y="117500"/>
                    </a:cubicBezTo>
                    <a:cubicBezTo>
                      <a:pt x="16276" y="115672"/>
                      <a:pt x="14905" y="113294"/>
                      <a:pt x="13899" y="110368"/>
                    </a:cubicBezTo>
                    <a:cubicBezTo>
                      <a:pt x="12893" y="107442"/>
                      <a:pt x="12436" y="103876"/>
                      <a:pt x="12436" y="99670"/>
                    </a:cubicBezTo>
                    <a:lnTo>
                      <a:pt x="12436" y="49378"/>
                    </a:lnTo>
                    <a:lnTo>
                      <a:pt x="0" y="49378"/>
                    </a:lnTo>
                    <a:lnTo>
                      <a:pt x="0" y="33833"/>
                    </a:lnTo>
                    <a:lnTo>
                      <a:pt x="12436" y="33833"/>
                    </a:lnTo>
                    <a:lnTo>
                      <a:pt x="12436" y="8961"/>
                    </a:lnTo>
                    <a:lnTo>
                      <a:pt x="29169" y="0"/>
                    </a:lnTo>
                    <a:lnTo>
                      <a:pt x="29169" y="33833"/>
                    </a:lnTo>
                    <a:lnTo>
                      <a:pt x="50749" y="33833"/>
                    </a:lnTo>
                    <a:lnTo>
                      <a:pt x="50749" y="49378"/>
                    </a:lnTo>
                    <a:lnTo>
                      <a:pt x="29169" y="49378"/>
                    </a:lnTo>
                    <a:lnTo>
                      <a:pt x="29169" y="96652"/>
                    </a:lnTo>
                    <a:cubicBezTo>
                      <a:pt x="29169" y="98664"/>
                      <a:pt x="29352" y="100401"/>
                      <a:pt x="29718" y="101681"/>
                    </a:cubicBezTo>
                    <a:cubicBezTo>
                      <a:pt x="30084" y="102961"/>
                      <a:pt x="30632" y="104059"/>
                      <a:pt x="31364" y="104882"/>
                    </a:cubicBezTo>
                    <a:cubicBezTo>
                      <a:pt x="32095" y="105705"/>
                      <a:pt x="33010" y="106253"/>
                      <a:pt x="34199" y="106619"/>
                    </a:cubicBezTo>
                    <a:cubicBezTo>
                      <a:pt x="35296" y="106893"/>
                      <a:pt x="36667" y="107076"/>
                      <a:pt x="38222" y="107076"/>
                    </a:cubicBezTo>
                    <a:cubicBezTo>
                      <a:pt x="40416" y="107076"/>
                      <a:pt x="42702" y="106710"/>
                      <a:pt x="44988" y="106070"/>
                    </a:cubicBezTo>
                    <a:cubicBezTo>
                      <a:pt x="47274" y="105339"/>
                      <a:pt x="49195" y="104516"/>
                      <a:pt x="50749" y="103602"/>
                    </a:cubicBezTo>
                    <a:lnTo>
                      <a:pt x="48829" y="118689"/>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2" name="Freeform: Shape 351">
                <a:extLst>
                  <a:ext uri="{FF2B5EF4-FFF2-40B4-BE49-F238E27FC236}">
                    <a16:creationId xmlns:a16="http://schemas.microsoft.com/office/drawing/2014/main" id="{698635F5-5F6D-417A-B169-981753A2EBB6}"/>
                  </a:ext>
                </a:extLst>
              </p:cNvPr>
              <p:cNvSpPr/>
              <p:nvPr/>
            </p:nvSpPr>
            <p:spPr>
              <a:xfrm>
                <a:off x="1492976" y="6218560"/>
                <a:ext cx="64008" cy="118872"/>
              </a:xfrm>
              <a:custGeom>
                <a:avLst/>
                <a:gdLst>
                  <a:gd name="connsiteX0" fmla="*/ 52944 w 64008"/>
                  <a:gd name="connsiteY0" fmla="*/ 120975 h 118872"/>
                  <a:gd name="connsiteX1" fmla="*/ 52944 w 64008"/>
                  <a:gd name="connsiteY1" fmla="*/ 71780 h 118872"/>
                  <a:gd name="connsiteX2" fmla="*/ 48646 w 64008"/>
                  <a:gd name="connsiteY2" fmla="*/ 53767 h 118872"/>
                  <a:gd name="connsiteX3" fmla="*/ 35021 w 64008"/>
                  <a:gd name="connsiteY3" fmla="*/ 47823 h 118872"/>
                  <a:gd name="connsiteX4" fmla="*/ 27706 w 64008"/>
                  <a:gd name="connsiteY4" fmla="*/ 49103 h 118872"/>
                  <a:gd name="connsiteX5" fmla="*/ 21946 w 64008"/>
                  <a:gd name="connsiteY5" fmla="*/ 53401 h 118872"/>
                  <a:gd name="connsiteX6" fmla="*/ 18288 w 64008"/>
                  <a:gd name="connsiteY6" fmla="*/ 60442 h 118872"/>
                  <a:gd name="connsiteX7" fmla="*/ 17099 w 64008"/>
                  <a:gd name="connsiteY7" fmla="*/ 70043 h 118872"/>
                  <a:gd name="connsiteX8" fmla="*/ 17099 w 64008"/>
                  <a:gd name="connsiteY8" fmla="*/ 120975 h 118872"/>
                  <a:gd name="connsiteX9" fmla="*/ 0 w 64008"/>
                  <a:gd name="connsiteY9" fmla="*/ 120975 h 118872"/>
                  <a:gd name="connsiteX10" fmla="*/ 0 w 64008"/>
                  <a:gd name="connsiteY10" fmla="*/ 8961 h 118872"/>
                  <a:gd name="connsiteX11" fmla="*/ 17099 w 64008"/>
                  <a:gd name="connsiteY11" fmla="*/ 0 h 118872"/>
                  <a:gd name="connsiteX12" fmla="*/ 17099 w 64008"/>
                  <a:gd name="connsiteY12" fmla="*/ 42154 h 118872"/>
                  <a:gd name="connsiteX13" fmla="*/ 21031 w 64008"/>
                  <a:gd name="connsiteY13" fmla="*/ 37948 h 118872"/>
                  <a:gd name="connsiteX14" fmla="*/ 26243 w 64008"/>
                  <a:gd name="connsiteY14" fmla="*/ 34747 h 118872"/>
                  <a:gd name="connsiteX15" fmla="*/ 32278 w 64008"/>
                  <a:gd name="connsiteY15" fmla="*/ 32736 h 118872"/>
                  <a:gd name="connsiteX16" fmla="*/ 38953 w 64008"/>
                  <a:gd name="connsiteY16" fmla="*/ 32004 h 118872"/>
                  <a:gd name="connsiteX17" fmla="*/ 52578 w 64008"/>
                  <a:gd name="connsiteY17" fmla="*/ 34473 h 118872"/>
                  <a:gd name="connsiteX18" fmla="*/ 62271 w 64008"/>
                  <a:gd name="connsiteY18" fmla="*/ 41880 h 118872"/>
                  <a:gd name="connsiteX19" fmla="*/ 68123 w 64008"/>
                  <a:gd name="connsiteY19" fmla="*/ 54315 h 118872"/>
                  <a:gd name="connsiteX20" fmla="*/ 70043 w 64008"/>
                  <a:gd name="connsiteY20" fmla="*/ 70957 h 118872"/>
                  <a:gd name="connsiteX21" fmla="*/ 70043 w 64008"/>
                  <a:gd name="connsiteY21" fmla="*/ 120884 h 118872"/>
                  <a:gd name="connsiteX22" fmla="*/ 52944 w 64008"/>
                  <a:gd name="connsiteY22" fmla="*/ 120884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008" h="118872">
                    <a:moveTo>
                      <a:pt x="52944" y="120975"/>
                    </a:moveTo>
                    <a:lnTo>
                      <a:pt x="52944" y="71780"/>
                    </a:lnTo>
                    <a:cubicBezTo>
                      <a:pt x="52944" y="63734"/>
                      <a:pt x="51481" y="57699"/>
                      <a:pt x="48646" y="53767"/>
                    </a:cubicBezTo>
                    <a:cubicBezTo>
                      <a:pt x="45811" y="49835"/>
                      <a:pt x="41239" y="47823"/>
                      <a:pt x="35021" y="47823"/>
                    </a:cubicBezTo>
                    <a:cubicBezTo>
                      <a:pt x="32370" y="47823"/>
                      <a:pt x="29901" y="48280"/>
                      <a:pt x="27706" y="49103"/>
                    </a:cubicBezTo>
                    <a:cubicBezTo>
                      <a:pt x="25420" y="50018"/>
                      <a:pt x="23500" y="51389"/>
                      <a:pt x="21946" y="53401"/>
                    </a:cubicBezTo>
                    <a:cubicBezTo>
                      <a:pt x="20300" y="55413"/>
                      <a:pt x="19111" y="57790"/>
                      <a:pt x="18288" y="60442"/>
                    </a:cubicBezTo>
                    <a:cubicBezTo>
                      <a:pt x="17465" y="63185"/>
                      <a:pt x="17099" y="66294"/>
                      <a:pt x="17099" y="70043"/>
                    </a:cubicBezTo>
                    <a:lnTo>
                      <a:pt x="17099" y="120975"/>
                    </a:lnTo>
                    <a:lnTo>
                      <a:pt x="0" y="120975"/>
                    </a:lnTo>
                    <a:lnTo>
                      <a:pt x="0" y="8961"/>
                    </a:lnTo>
                    <a:lnTo>
                      <a:pt x="17099" y="0"/>
                    </a:lnTo>
                    <a:lnTo>
                      <a:pt x="17099" y="42154"/>
                    </a:lnTo>
                    <a:cubicBezTo>
                      <a:pt x="18197" y="40599"/>
                      <a:pt x="19477" y="39136"/>
                      <a:pt x="21031" y="37948"/>
                    </a:cubicBezTo>
                    <a:cubicBezTo>
                      <a:pt x="22586" y="36667"/>
                      <a:pt x="24323" y="35570"/>
                      <a:pt x="26243" y="34747"/>
                    </a:cubicBezTo>
                    <a:cubicBezTo>
                      <a:pt x="28163" y="33924"/>
                      <a:pt x="30175" y="33193"/>
                      <a:pt x="32278" y="32736"/>
                    </a:cubicBezTo>
                    <a:cubicBezTo>
                      <a:pt x="34473" y="32278"/>
                      <a:pt x="36667" y="32004"/>
                      <a:pt x="38953" y="32004"/>
                    </a:cubicBezTo>
                    <a:cubicBezTo>
                      <a:pt x="44165" y="32004"/>
                      <a:pt x="48737" y="32827"/>
                      <a:pt x="52578" y="34473"/>
                    </a:cubicBezTo>
                    <a:cubicBezTo>
                      <a:pt x="56418" y="36119"/>
                      <a:pt x="59619" y="38588"/>
                      <a:pt x="62271" y="41880"/>
                    </a:cubicBezTo>
                    <a:cubicBezTo>
                      <a:pt x="64922" y="45171"/>
                      <a:pt x="66843" y="49286"/>
                      <a:pt x="68123" y="54315"/>
                    </a:cubicBezTo>
                    <a:cubicBezTo>
                      <a:pt x="69403" y="59345"/>
                      <a:pt x="70043" y="64922"/>
                      <a:pt x="70043" y="70957"/>
                    </a:cubicBezTo>
                    <a:lnTo>
                      <a:pt x="70043" y="120884"/>
                    </a:lnTo>
                    <a:lnTo>
                      <a:pt x="52944" y="12088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3" name="Freeform: Shape 352">
                <a:extLst>
                  <a:ext uri="{FF2B5EF4-FFF2-40B4-BE49-F238E27FC236}">
                    <a16:creationId xmlns:a16="http://schemas.microsoft.com/office/drawing/2014/main" id="{CDA3C6DE-893F-4704-A27B-532FF51CEA00}"/>
                  </a:ext>
                </a:extLst>
              </p:cNvPr>
              <p:cNvSpPr/>
              <p:nvPr/>
            </p:nvSpPr>
            <p:spPr>
              <a:xfrm>
                <a:off x="1580210" y="6250473"/>
                <a:ext cx="73152" cy="82296"/>
              </a:xfrm>
              <a:custGeom>
                <a:avLst/>
                <a:gdLst>
                  <a:gd name="connsiteX0" fmla="*/ 57424 w 73152"/>
                  <a:gd name="connsiteY0" fmla="*/ 37399 h 82296"/>
                  <a:gd name="connsiteX1" fmla="*/ 55870 w 73152"/>
                  <a:gd name="connsiteY1" fmla="*/ 28986 h 82296"/>
                  <a:gd name="connsiteX2" fmla="*/ 52121 w 73152"/>
                  <a:gd name="connsiteY2" fmla="*/ 22037 h 82296"/>
                  <a:gd name="connsiteX3" fmla="*/ 45903 w 73152"/>
                  <a:gd name="connsiteY3" fmla="*/ 17282 h 82296"/>
                  <a:gd name="connsiteX4" fmla="*/ 36850 w 73152"/>
                  <a:gd name="connsiteY4" fmla="*/ 15545 h 82296"/>
                  <a:gd name="connsiteX5" fmla="*/ 28895 w 73152"/>
                  <a:gd name="connsiteY5" fmla="*/ 17008 h 82296"/>
                  <a:gd name="connsiteX6" fmla="*/ 23043 w 73152"/>
                  <a:gd name="connsiteY6" fmla="*/ 21214 h 82296"/>
                  <a:gd name="connsiteX7" fmla="*/ 19019 w 73152"/>
                  <a:gd name="connsiteY7" fmla="*/ 27981 h 82296"/>
                  <a:gd name="connsiteX8" fmla="*/ 16825 w 73152"/>
                  <a:gd name="connsiteY8" fmla="*/ 37308 h 82296"/>
                  <a:gd name="connsiteX9" fmla="*/ 57424 w 73152"/>
                  <a:gd name="connsiteY9" fmla="*/ 37308 h 82296"/>
                  <a:gd name="connsiteX10" fmla="*/ 74706 w 73152"/>
                  <a:gd name="connsiteY10" fmla="*/ 43708 h 82296"/>
                  <a:gd name="connsiteX11" fmla="*/ 74524 w 73152"/>
                  <a:gd name="connsiteY11" fmla="*/ 48097 h 82296"/>
                  <a:gd name="connsiteX12" fmla="*/ 74249 w 73152"/>
                  <a:gd name="connsiteY12" fmla="*/ 51481 h 82296"/>
                  <a:gd name="connsiteX13" fmla="*/ 16642 w 73152"/>
                  <a:gd name="connsiteY13" fmla="*/ 51481 h 82296"/>
                  <a:gd name="connsiteX14" fmla="*/ 19385 w 73152"/>
                  <a:gd name="connsiteY14" fmla="*/ 62271 h 82296"/>
                  <a:gd name="connsiteX15" fmla="*/ 24323 w 73152"/>
                  <a:gd name="connsiteY15" fmla="*/ 69677 h 82296"/>
                  <a:gd name="connsiteX16" fmla="*/ 30907 w 73152"/>
                  <a:gd name="connsiteY16" fmla="*/ 73975 h 82296"/>
                  <a:gd name="connsiteX17" fmla="*/ 38588 w 73152"/>
                  <a:gd name="connsiteY17" fmla="*/ 75347 h 82296"/>
                  <a:gd name="connsiteX18" fmla="*/ 43891 w 73152"/>
                  <a:gd name="connsiteY18" fmla="*/ 74889 h 82296"/>
                  <a:gd name="connsiteX19" fmla="*/ 48737 w 73152"/>
                  <a:gd name="connsiteY19" fmla="*/ 73426 h 82296"/>
                  <a:gd name="connsiteX20" fmla="*/ 52852 w 73152"/>
                  <a:gd name="connsiteY20" fmla="*/ 71415 h 82296"/>
                  <a:gd name="connsiteX21" fmla="*/ 57516 w 73152"/>
                  <a:gd name="connsiteY21" fmla="*/ 68397 h 82296"/>
                  <a:gd name="connsiteX22" fmla="*/ 67666 w 73152"/>
                  <a:gd name="connsiteY22" fmla="*/ 79278 h 82296"/>
                  <a:gd name="connsiteX23" fmla="*/ 61448 w 73152"/>
                  <a:gd name="connsiteY23" fmla="*/ 84216 h 82296"/>
                  <a:gd name="connsiteX24" fmla="*/ 55047 w 73152"/>
                  <a:gd name="connsiteY24" fmla="*/ 87600 h 82296"/>
                  <a:gd name="connsiteX25" fmla="*/ 47274 w 73152"/>
                  <a:gd name="connsiteY25" fmla="*/ 89886 h 82296"/>
                  <a:gd name="connsiteX26" fmla="*/ 37673 w 73152"/>
                  <a:gd name="connsiteY26" fmla="*/ 90708 h 82296"/>
                  <a:gd name="connsiteX27" fmla="*/ 27066 w 73152"/>
                  <a:gd name="connsiteY27" fmla="*/ 89154 h 82296"/>
                  <a:gd name="connsiteX28" fmla="*/ 18288 w 73152"/>
                  <a:gd name="connsiteY28" fmla="*/ 85039 h 82296"/>
                  <a:gd name="connsiteX29" fmla="*/ 11430 w 73152"/>
                  <a:gd name="connsiteY29" fmla="*/ 79187 h 82296"/>
                  <a:gd name="connsiteX30" fmla="*/ 5669 w 73152"/>
                  <a:gd name="connsiteY30" fmla="*/ 70775 h 82296"/>
                  <a:gd name="connsiteX31" fmla="*/ 1463 w 73152"/>
                  <a:gd name="connsiteY31" fmla="*/ 59253 h 82296"/>
                  <a:gd name="connsiteX32" fmla="*/ 0 w 73152"/>
                  <a:gd name="connsiteY32" fmla="*/ 45354 h 82296"/>
                  <a:gd name="connsiteX33" fmla="*/ 2835 w 73152"/>
                  <a:gd name="connsiteY33" fmla="*/ 25878 h 82296"/>
                  <a:gd name="connsiteX34" fmla="*/ 10698 w 73152"/>
                  <a:gd name="connsiteY34" fmla="*/ 11613 h 82296"/>
                  <a:gd name="connsiteX35" fmla="*/ 22769 w 73152"/>
                  <a:gd name="connsiteY35" fmla="*/ 2926 h 82296"/>
                  <a:gd name="connsiteX36" fmla="*/ 38222 w 73152"/>
                  <a:gd name="connsiteY36" fmla="*/ 0 h 82296"/>
                  <a:gd name="connsiteX37" fmla="*/ 54407 w 73152"/>
                  <a:gd name="connsiteY37" fmla="*/ 3566 h 82296"/>
                  <a:gd name="connsiteX38" fmla="*/ 65837 w 73152"/>
                  <a:gd name="connsiteY38" fmla="*/ 13076 h 82296"/>
                  <a:gd name="connsiteX39" fmla="*/ 72695 w 73152"/>
                  <a:gd name="connsiteY39" fmla="*/ 26975 h 82296"/>
                  <a:gd name="connsiteX40" fmla="*/ 74706 w 73152"/>
                  <a:gd name="connsiteY40" fmla="*/ 43708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3152" h="82296">
                    <a:moveTo>
                      <a:pt x="57424" y="37399"/>
                    </a:moveTo>
                    <a:cubicBezTo>
                      <a:pt x="57150" y="34381"/>
                      <a:pt x="56693" y="31638"/>
                      <a:pt x="55870" y="28986"/>
                    </a:cubicBezTo>
                    <a:cubicBezTo>
                      <a:pt x="55047" y="26335"/>
                      <a:pt x="53767" y="24049"/>
                      <a:pt x="52121" y="22037"/>
                    </a:cubicBezTo>
                    <a:cubicBezTo>
                      <a:pt x="50475" y="20025"/>
                      <a:pt x="48372" y="18471"/>
                      <a:pt x="45903" y="17282"/>
                    </a:cubicBezTo>
                    <a:cubicBezTo>
                      <a:pt x="43343" y="16093"/>
                      <a:pt x="40416" y="15545"/>
                      <a:pt x="36850" y="15545"/>
                    </a:cubicBezTo>
                    <a:cubicBezTo>
                      <a:pt x="33833" y="15545"/>
                      <a:pt x="31181" y="16002"/>
                      <a:pt x="28895" y="17008"/>
                    </a:cubicBezTo>
                    <a:cubicBezTo>
                      <a:pt x="26609" y="18014"/>
                      <a:pt x="24689" y="19385"/>
                      <a:pt x="23043" y="21214"/>
                    </a:cubicBezTo>
                    <a:cubicBezTo>
                      <a:pt x="21397" y="23043"/>
                      <a:pt x="20117" y="25329"/>
                      <a:pt x="19019" y="27981"/>
                    </a:cubicBezTo>
                    <a:cubicBezTo>
                      <a:pt x="17922" y="30632"/>
                      <a:pt x="17282" y="33741"/>
                      <a:pt x="16825" y="37308"/>
                    </a:cubicBezTo>
                    <a:lnTo>
                      <a:pt x="57424" y="37308"/>
                    </a:lnTo>
                    <a:close/>
                    <a:moveTo>
                      <a:pt x="74706" y="43708"/>
                    </a:moveTo>
                    <a:cubicBezTo>
                      <a:pt x="74706" y="45263"/>
                      <a:pt x="74615" y="46726"/>
                      <a:pt x="74524" y="48097"/>
                    </a:cubicBezTo>
                    <a:cubicBezTo>
                      <a:pt x="74432" y="49469"/>
                      <a:pt x="74341" y="50566"/>
                      <a:pt x="74249" y="51481"/>
                    </a:cubicBezTo>
                    <a:lnTo>
                      <a:pt x="16642" y="51481"/>
                    </a:lnTo>
                    <a:cubicBezTo>
                      <a:pt x="17191" y="55687"/>
                      <a:pt x="18014" y="59253"/>
                      <a:pt x="19385" y="62271"/>
                    </a:cubicBezTo>
                    <a:cubicBezTo>
                      <a:pt x="20757" y="65288"/>
                      <a:pt x="22403" y="67757"/>
                      <a:pt x="24323" y="69677"/>
                    </a:cubicBezTo>
                    <a:cubicBezTo>
                      <a:pt x="26243" y="71598"/>
                      <a:pt x="28438" y="73061"/>
                      <a:pt x="30907" y="73975"/>
                    </a:cubicBezTo>
                    <a:cubicBezTo>
                      <a:pt x="33376" y="74889"/>
                      <a:pt x="35936" y="75347"/>
                      <a:pt x="38588" y="75347"/>
                    </a:cubicBezTo>
                    <a:cubicBezTo>
                      <a:pt x="40508" y="75347"/>
                      <a:pt x="42245" y="75164"/>
                      <a:pt x="43891" y="74889"/>
                    </a:cubicBezTo>
                    <a:cubicBezTo>
                      <a:pt x="45537" y="74615"/>
                      <a:pt x="47183" y="74066"/>
                      <a:pt x="48737" y="73426"/>
                    </a:cubicBezTo>
                    <a:cubicBezTo>
                      <a:pt x="50292" y="72786"/>
                      <a:pt x="51664" y="72146"/>
                      <a:pt x="52852" y="71415"/>
                    </a:cubicBezTo>
                    <a:cubicBezTo>
                      <a:pt x="54041" y="70775"/>
                      <a:pt x="55595" y="69769"/>
                      <a:pt x="57516" y="68397"/>
                    </a:cubicBezTo>
                    <a:lnTo>
                      <a:pt x="67666" y="79278"/>
                    </a:lnTo>
                    <a:cubicBezTo>
                      <a:pt x="65471" y="81290"/>
                      <a:pt x="63459" y="83028"/>
                      <a:pt x="61448" y="84216"/>
                    </a:cubicBezTo>
                    <a:cubicBezTo>
                      <a:pt x="59436" y="85496"/>
                      <a:pt x="57333" y="86594"/>
                      <a:pt x="55047" y="87600"/>
                    </a:cubicBezTo>
                    <a:cubicBezTo>
                      <a:pt x="52761" y="88605"/>
                      <a:pt x="50109" y="89337"/>
                      <a:pt x="47274" y="89886"/>
                    </a:cubicBezTo>
                    <a:cubicBezTo>
                      <a:pt x="44348" y="90434"/>
                      <a:pt x="41148" y="90708"/>
                      <a:pt x="37673" y="90708"/>
                    </a:cubicBezTo>
                    <a:cubicBezTo>
                      <a:pt x="33924" y="90708"/>
                      <a:pt x="30358" y="90160"/>
                      <a:pt x="27066" y="89154"/>
                    </a:cubicBezTo>
                    <a:cubicBezTo>
                      <a:pt x="23774" y="88057"/>
                      <a:pt x="20848" y="86685"/>
                      <a:pt x="18288" y="85039"/>
                    </a:cubicBezTo>
                    <a:cubicBezTo>
                      <a:pt x="15728" y="83302"/>
                      <a:pt x="13442" y="81382"/>
                      <a:pt x="11430" y="79187"/>
                    </a:cubicBezTo>
                    <a:cubicBezTo>
                      <a:pt x="9418" y="76992"/>
                      <a:pt x="7498" y="74158"/>
                      <a:pt x="5669" y="70775"/>
                    </a:cubicBezTo>
                    <a:cubicBezTo>
                      <a:pt x="3840" y="67300"/>
                      <a:pt x="2377" y="63551"/>
                      <a:pt x="1463" y="59253"/>
                    </a:cubicBezTo>
                    <a:cubicBezTo>
                      <a:pt x="457" y="55047"/>
                      <a:pt x="0" y="50383"/>
                      <a:pt x="0" y="45354"/>
                    </a:cubicBezTo>
                    <a:cubicBezTo>
                      <a:pt x="0" y="38039"/>
                      <a:pt x="914" y="31547"/>
                      <a:pt x="2835" y="25878"/>
                    </a:cubicBezTo>
                    <a:cubicBezTo>
                      <a:pt x="4663" y="20208"/>
                      <a:pt x="7315" y="15453"/>
                      <a:pt x="10698" y="11613"/>
                    </a:cubicBezTo>
                    <a:cubicBezTo>
                      <a:pt x="14082" y="7772"/>
                      <a:pt x="18105" y="4846"/>
                      <a:pt x="22769" y="2926"/>
                    </a:cubicBezTo>
                    <a:cubicBezTo>
                      <a:pt x="27432" y="914"/>
                      <a:pt x="32644" y="0"/>
                      <a:pt x="38222" y="0"/>
                    </a:cubicBezTo>
                    <a:cubicBezTo>
                      <a:pt x="44440" y="0"/>
                      <a:pt x="49835" y="1189"/>
                      <a:pt x="54407" y="3566"/>
                    </a:cubicBezTo>
                    <a:cubicBezTo>
                      <a:pt x="58979" y="5944"/>
                      <a:pt x="62819" y="9053"/>
                      <a:pt x="65837" y="13076"/>
                    </a:cubicBezTo>
                    <a:cubicBezTo>
                      <a:pt x="68854" y="17008"/>
                      <a:pt x="71140" y="21671"/>
                      <a:pt x="72695" y="26975"/>
                    </a:cubicBezTo>
                    <a:cubicBezTo>
                      <a:pt x="73975" y="32278"/>
                      <a:pt x="74706" y="37856"/>
                      <a:pt x="74706" y="43708"/>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354" name="Freeform: Shape 353">
              <a:extLst>
                <a:ext uri="{FF2B5EF4-FFF2-40B4-BE49-F238E27FC236}">
                  <a16:creationId xmlns:a16="http://schemas.microsoft.com/office/drawing/2014/main" id="{7D3F036F-7544-4609-8DC2-C092662E5052}"/>
                </a:ext>
              </a:extLst>
            </p:cNvPr>
            <p:cNvSpPr/>
            <p:nvPr/>
          </p:nvSpPr>
          <p:spPr>
            <a:xfrm>
              <a:off x="1708409" y="6252393"/>
              <a:ext cx="100584" cy="82296"/>
            </a:xfrm>
            <a:custGeom>
              <a:avLst/>
              <a:gdLst>
                <a:gd name="connsiteX0" fmla="*/ 92720 w 100584"/>
                <a:gd name="connsiteY0" fmla="*/ 0 h 82296"/>
                <a:gd name="connsiteX1" fmla="*/ 78181 w 100584"/>
                <a:gd name="connsiteY1" fmla="*/ 59802 h 82296"/>
                <a:gd name="connsiteX2" fmla="*/ 61631 w 100584"/>
                <a:gd name="connsiteY2" fmla="*/ 0 h 82296"/>
                <a:gd name="connsiteX3" fmla="*/ 47915 w 100584"/>
                <a:gd name="connsiteY3" fmla="*/ 0 h 82296"/>
                <a:gd name="connsiteX4" fmla="*/ 31455 w 100584"/>
                <a:gd name="connsiteY4" fmla="*/ 59802 h 82296"/>
                <a:gd name="connsiteX5" fmla="*/ 16916 w 100584"/>
                <a:gd name="connsiteY5" fmla="*/ 0 h 82296"/>
                <a:gd name="connsiteX6" fmla="*/ 0 w 100584"/>
                <a:gd name="connsiteY6" fmla="*/ 0 h 82296"/>
                <a:gd name="connsiteX7" fmla="*/ 23866 w 100584"/>
                <a:gd name="connsiteY7" fmla="*/ 87142 h 82296"/>
                <a:gd name="connsiteX8" fmla="*/ 38405 w 100584"/>
                <a:gd name="connsiteY8" fmla="*/ 87142 h 82296"/>
                <a:gd name="connsiteX9" fmla="*/ 54590 w 100584"/>
                <a:gd name="connsiteY9" fmla="*/ 26152 h 82296"/>
                <a:gd name="connsiteX10" fmla="*/ 70775 w 100584"/>
                <a:gd name="connsiteY10" fmla="*/ 87142 h 82296"/>
                <a:gd name="connsiteX11" fmla="*/ 85405 w 100584"/>
                <a:gd name="connsiteY11" fmla="*/ 87142 h 82296"/>
                <a:gd name="connsiteX12" fmla="*/ 109637 w 100584"/>
                <a:gd name="connsiteY12" fmla="*/ 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584" h="82296">
                  <a:moveTo>
                    <a:pt x="92720" y="0"/>
                  </a:moveTo>
                  <a:lnTo>
                    <a:pt x="78181" y="59802"/>
                  </a:lnTo>
                  <a:lnTo>
                    <a:pt x="61631" y="0"/>
                  </a:lnTo>
                  <a:lnTo>
                    <a:pt x="47915" y="0"/>
                  </a:lnTo>
                  <a:lnTo>
                    <a:pt x="31455" y="59802"/>
                  </a:lnTo>
                  <a:lnTo>
                    <a:pt x="16916" y="0"/>
                  </a:lnTo>
                  <a:lnTo>
                    <a:pt x="0" y="0"/>
                  </a:lnTo>
                  <a:lnTo>
                    <a:pt x="23866" y="87142"/>
                  </a:lnTo>
                  <a:lnTo>
                    <a:pt x="38405" y="87142"/>
                  </a:lnTo>
                  <a:lnTo>
                    <a:pt x="54590" y="26152"/>
                  </a:lnTo>
                  <a:lnTo>
                    <a:pt x="70775" y="87142"/>
                  </a:lnTo>
                  <a:lnTo>
                    <a:pt x="85405" y="87142"/>
                  </a:lnTo>
                  <a:lnTo>
                    <a:pt x="109637"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355" name="Graphic 2">
              <a:extLst>
                <a:ext uri="{FF2B5EF4-FFF2-40B4-BE49-F238E27FC236}">
                  <a16:creationId xmlns:a16="http://schemas.microsoft.com/office/drawing/2014/main" id="{69916B0C-9B62-4073-A26B-3F4B3A5DFA66}"/>
                </a:ext>
              </a:extLst>
            </p:cNvPr>
            <p:cNvGrpSpPr/>
            <p:nvPr/>
          </p:nvGrpSpPr>
          <p:grpSpPr>
            <a:xfrm>
              <a:off x="1826824" y="6250564"/>
              <a:ext cx="146304" cy="82296"/>
              <a:chOff x="1826824" y="6250564"/>
              <a:chExt cx="146304" cy="82296"/>
            </a:xfrm>
            <a:solidFill>
              <a:srgbClr val="FFFFFF"/>
            </a:solidFill>
          </p:grpSpPr>
          <p:sp>
            <p:nvSpPr>
              <p:cNvPr id="356" name="Freeform: Shape 355">
                <a:extLst>
                  <a:ext uri="{FF2B5EF4-FFF2-40B4-BE49-F238E27FC236}">
                    <a16:creationId xmlns:a16="http://schemas.microsoft.com/office/drawing/2014/main" id="{548E9D87-9191-49CF-9D05-DD5A727D3444}"/>
                  </a:ext>
                </a:extLst>
              </p:cNvPr>
              <p:cNvSpPr/>
              <p:nvPr/>
            </p:nvSpPr>
            <p:spPr>
              <a:xfrm>
                <a:off x="1826824" y="6250747"/>
                <a:ext cx="73152" cy="82296"/>
              </a:xfrm>
              <a:custGeom>
                <a:avLst/>
                <a:gdLst>
                  <a:gd name="connsiteX0" fmla="*/ 60350 w 73152"/>
                  <a:gd name="connsiteY0" fmla="*/ 45263 h 82296"/>
                  <a:gd name="connsiteX1" fmla="*/ 58796 w 73152"/>
                  <a:gd name="connsiteY1" fmla="*/ 33284 h 82296"/>
                  <a:gd name="connsiteX2" fmla="*/ 54407 w 73152"/>
                  <a:gd name="connsiteY2" fmla="*/ 24049 h 82296"/>
                  <a:gd name="connsiteX3" fmla="*/ 47366 w 73152"/>
                  <a:gd name="connsiteY3" fmla="*/ 18197 h 82296"/>
                  <a:gd name="connsiteX4" fmla="*/ 38039 w 73152"/>
                  <a:gd name="connsiteY4" fmla="*/ 16093 h 82296"/>
                  <a:gd name="connsiteX5" fmla="*/ 29352 w 73152"/>
                  <a:gd name="connsiteY5" fmla="*/ 18197 h 82296"/>
                  <a:gd name="connsiteX6" fmla="*/ 22768 w 73152"/>
                  <a:gd name="connsiteY6" fmla="*/ 24049 h 82296"/>
                  <a:gd name="connsiteX7" fmla="*/ 18562 w 73152"/>
                  <a:gd name="connsiteY7" fmla="*/ 33101 h 82296"/>
                  <a:gd name="connsiteX8" fmla="*/ 17099 w 73152"/>
                  <a:gd name="connsiteY8" fmla="*/ 44806 h 82296"/>
                  <a:gd name="connsiteX9" fmla="*/ 18654 w 73152"/>
                  <a:gd name="connsiteY9" fmla="*/ 57516 h 82296"/>
                  <a:gd name="connsiteX10" fmla="*/ 23134 w 73152"/>
                  <a:gd name="connsiteY10" fmla="*/ 66751 h 82296"/>
                  <a:gd name="connsiteX11" fmla="*/ 29992 w 73152"/>
                  <a:gd name="connsiteY11" fmla="*/ 72420 h 82296"/>
                  <a:gd name="connsiteX12" fmla="*/ 38862 w 73152"/>
                  <a:gd name="connsiteY12" fmla="*/ 74341 h 82296"/>
                  <a:gd name="connsiteX13" fmla="*/ 47640 w 73152"/>
                  <a:gd name="connsiteY13" fmla="*/ 72055 h 82296"/>
                  <a:gd name="connsiteX14" fmla="*/ 54407 w 73152"/>
                  <a:gd name="connsiteY14" fmla="*/ 65837 h 82296"/>
                  <a:gd name="connsiteX15" fmla="*/ 58704 w 73152"/>
                  <a:gd name="connsiteY15" fmla="*/ 56601 h 82296"/>
                  <a:gd name="connsiteX16" fmla="*/ 60350 w 73152"/>
                  <a:gd name="connsiteY16" fmla="*/ 45263 h 82296"/>
                  <a:gd name="connsiteX17" fmla="*/ 77632 w 73152"/>
                  <a:gd name="connsiteY17" fmla="*/ 44806 h 82296"/>
                  <a:gd name="connsiteX18" fmla="*/ 74615 w 73152"/>
                  <a:gd name="connsiteY18" fmla="*/ 64191 h 82296"/>
                  <a:gd name="connsiteX19" fmla="*/ 66385 w 73152"/>
                  <a:gd name="connsiteY19" fmla="*/ 78638 h 82296"/>
                  <a:gd name="connsiteX20" fmla="*/ 53950 w 73152"/>
                  <a:gd name="connsiteY20" fmla="*/ 87600 h 82296"/>
                  <a:gd name="connsiteX21" fmla="*/ 38405 w 73152"/>
                  <a:gd name="connsiteY21" fmla="*/ 90708 h 82296"/>
                  <a:gd name="connsiteX22" fmla="*/ 23134 w 73152"/>
                  <a:gd name="connsiteY22" fmla="*/ 87508 h 82296"/>
                  <a:gd name="connsiteX23" fmla="*/ 10973 w 73152"/>
                  <a:gd name="connsiteY23" fmla="*/ 78364 h 82296"/>
                  <a:gd name="connsiteX24" fmla="*/ 2926 w 73152"/>
                  <a:gd name="connsiteY24" fmla="*/ 64008 h 82296"/>
                  <a:gd name="connsiteX25" fmla="*/ 0 w 73152"/>
                  <a:gd name="connsiteY25" fmla="*/ 45446 h 82296"/>
                  <a:gd name="connsiteX26" fmla="*/ 3018 w 73152"/>
                  <a:gd name="connsiteY26" fmla="*/ 26335 h 82296"/>
                  <a:gd name="connsiteX27" fmla="*/ 11247 w 73152"/>
                  <a:gd name="connsiteY27" fmla="*/ 12070 h 82296"/>
                  <a:gd name="connsiteX28" fmla="*/ 23592 w 73152"/>
                  <a:gd name="connsiteY28" fmla="*/ 3109 h 82296"/>
                  <a:gd name="connsiteX29" fmla="*/ 38953 w 73152"/>
                  <a:gd name="connsiteY29" fmla="*/ 0 h 82296"/>
                  <a:gd name="connsiteX30" fmla="*/ 54407 w 73152"/>
                  <a:gd name="connsiteY30" fmla="*/ 3200 h 82296"/>
                  <a:gd name="connsiteX31" fmla="*/ 66660 w 73152"/>
                  <a:gd name="connsiteY31" fmla="*/ 12253 h 82296"/>
                  <a:gd name="connsiteX32" fmla="*/ 74798 w 73152"/>
                  <a:gd name="connsiteY32" fmla="*/ 26426 h 82296"/>
                  <a:gd name="connsiteX33" fmla="*/ 77632 w 73152"/>
                  <a:gd name="connsiteY33" fmla="*/ 44806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152" h="82296">
                    <a:moveTo>
                      <a:pt x="60350" y="45263"/>
                    </a:moveTo>
                    <a:cubicBezTo>
                      <a:pt x="60350" y="40874"/>
                      <a:pt x="59802" y="36850"/>
                      <a:pt x="58796" y="33284"/>
                    </a:cubicBezTo>
                    <a:cubicBezTo>
                      <a:pt x="57790" y="29718"/>
                      <a:pt x="56327" y="26609"/>
                      <a:pt x="54407" y="24049"/>
                    </a:cubicBezTo>
                    <a:cubicBezTo>
                      <a:pt x="52486" y="21488"/>
                      <a:pt x="50109" y="19568"/>
                      <a:pt x="47366" y="18197"/>
                    </a:cubicBezTo>
                    <a:cubicBezTo>
                      <a:pt x="44623" y="16825"/>
                      <a:pt x="41514" y="16093"/>
                      <a:pt x="38039" y="16093"/>
                    </a:cubicBezTo>
                    <a:cubicBezTo>
                      <a:pt x="34839" y="16093"/>
                      <a:pt x="31912" y="16825"/>
                      <a:pt x="29352" y="18197"/>
                    </a:cubicBezTo>
                    <a:cubicBezTo>
                      <a:pt x="26792" y="19568"/>
                      <a:pt x="24597" y="21488"/>
                      <a:pt x="22768" y="24049"/>
                    </a:cubicBezTo>
                    <a:cubicBezTo>
                      <a:pt x="20940" y="26609"/>
                      <a:pt x="19568" y="29535"/>
                      <a:pt x="18562" y="33101"/>
                    </a:cubicBezTo>
                    <a:cubicBezTo>
                      <a:pt x="17556" y="36576"/>
                      <a:pt x="17099" y="40508"/>
                      <a:pt x="17099" y="44806"/>
                    </a:cubicBezTo>
                    <a:cubicBezTo>
                      <a:pt x="17099" y="49560"/>
                      <a:pt x="17648" y="53858"/>
                      <a:pt x="18654" y="57516"/>
                    </a:cubicBezTo>
                    <a:cubicBezTo>
                      <a:pt x="19751" y="61173"/>
                      <a:pt x="21214" y="64282"/>
                      <a:pt x="23134" y="66751"/>
                    </a:cubicBezTo>
                    <a:cubicBezTo>
                      <a:pt x="25054" y="69220"/>
                      <a:pt x="27340" y="71140"/>
                      <a:pt x="29992" y="72420"/>
                    </a:cubicBezTo>
                    <a:cubicBezTo>
                      <a:pt x="32644" y="73701"/>
                      <a:pt x="35662" y="74341"/>
                      <a:pt x="38862" y="74341"/>
                    </a:cubicBezTo>
                    <a:cubicBezTo>
                      <a:pt x="42062" y="74341"/>
                      <a:pt x="44988" y="73609"/>
                      <a:pt x="47640" y="72055"/>
                    </a:cubicBezTo>
                    <a:cubicBezTo>
                      <a:pt x="50292" y="70500"/>
                      <a:pt x="52486" y="68397"/>
                      <a:pt x="54407" y="65837"/>
                    </a:cubicBezTo>
                    <a:cubicBezTo>
                      <a:pt x="56236" y="63185"/>
                      <a:pt x="57699" y="60168"/>
                      <a:pt x="58704" y="56601"/>
                    </a:cubicBezTo>
                    <a:cubicBezTo>
                      <a:pt x="59893" y="53035"/>
                      <a:pt x="60350" y="49286"/>
                      <a:pt x="60350" y="45263"/>
                    </a:cubicBezTo>
                    <a:moveTo>
                      <a:pt x="77632" y="44806"/>
                    </a:moveTo>
                    <a:cubicBezTo>
                      <a:pt x="77632" y="52029"/>
                      <a:pt x="76627" y="58522"/>
                      <a:pt x="74615" y="64191"/>
                    </a:cubicBezTo>
                    <a:cubicBezTo>
                      <a:pt x="72603" y="69860"/>
                      <a:pt x="69860" y="74706"/>
                      <a:pt x="66385" y="78638"/>
                    </a:cubicBezTo>
                    <a:cubicBezTo>
                      <a:pt x="62911" y="82570"/>
                      <a:pt x="58704" y="85588"/>
                      <a:pt x="53950" y="87600"/>
                    </a:cubicBezTo>
                    <a:cubicBezTo>
                      <a:pt x="49103" y="89611"/>
                      <a:pt x="43983" y="90708"/>
                      <a:pt x="38405" y="90708"/>
                    </a:cubicBezTo>
                    <a:cubicBezTo>
                      <a:pt x="32918" y="90708"/>
                      <a:pt x="27798" y="89611"/>
                      <a:pt x="23134" y="87508"/>
                    </a:cubicBezTo>
                    <a:cubicBezTo>
                      <a:pt x="18471" y="85314"/>
                      <a:pt x="14448" y="82296"/>
                      <a:pt x="10973" y="78364"/>
                    </a:cubicBezTo>
                    <a:cubicBezTo>
                      <a:pt x="7498" y="74432"/>
                      <a:pt x="4846" y="69586"/>
                      <a:pt x="2926" y="64008"/>
                    </a:cubicBezTo>
                    <a:cubicBezTo>
                      <a:pt x="1006" y="58430"/>
                      <a:pt x="0" y="52212"/>
                      <a:pt x="0" y="45446"/>
                    </a:cubicBezTo>
                    <a:cubicBezTo>
                      <a:pt x="0" y="38313"/>
                      <a:pt x="1006" y="31913"/>
                      <a:pt x="3018" y="26335"/>
                    </a:cubicBezTo>
                    <a:cubicBezTo>
                      <a:pt x="5029" y="20757"/>
                      <a:pt x="7772" y="16002"/>
                      <a:pt x="11247" y="12070"/>
                    </a:cubicBezTo>
                    <a:cubicBezTo>
                      <a:pt x="14722" y="8138"/>
                      <a:pt x="18837" y="5212"/>
                      <a:pt x="23592" y="3109"/>
                    </a:cubicBezTo>
                    <a:cubicBezTo>
                      <a:pt x="28346" y="1097"/>
                      <a:pt x="33467" y="0"/>
                      <a:pt x="38953" y="0"/>
                    </a:cubicBezTo>
                    <a:cubicBezTo>
                      <a:pt x="44531" y="0"/>
                      <a:pt x="49652" y="1097"/>
                      <a:pt x="54407" y="3200"/>
                    </a:cubicBezTo>
                    <a:cubicBezTo>
                      <a:pt x="59162" y="5304"/>
                      <a:pt x="63185" y="8321"/>
                      <a:pt x="66660" y="12253"/>
                    </a:cubicBezTo>
                    <a:cubicBezTo>
                      <a:pt x="70134" y="16185"/>
                      <a:pt x="72786" y="20848"/>
                      <a:pt x="74798" y="26426"/>
                    </a:cubicBezTo>
                    <a:cubicBezTo>
                      <a:pt x="76627" y="31821"/>
                      <a:pt x="77632" y="37948"/>
                      <a:pt x="77632" y="44806"/>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7" name="Freeform: Shape 356">
                <a:extLst>
                  <a:ext uri="{FF2B5EF4-FFF2-40B4-BE49-F238E27FC236}">
                    <a16:creationId xmlns:a16="http://schemas.microsoft.com/office/drawing/2014/main" id="{BC8FDAF5-44B1-4945-B9AB-6DB26C93EC3D}"/>
                  </a:ext>
                </a:extLst>
              </p:cNvPr>
              <p:cNvSpPr/>
              <p:nvPr/>
            </p:nvSpPr>
            <p:spPr>
              <a:xfrm>
                <a:off x="1922196" y="6250564"/>
                <a:ext cx="45720" cy="82296"/>
              </a:xfrm>
              <a:custGeom>
                <a:avLst/>
                <a:gdLst>
                  <a:gd name="connsiteX0" fmla="*/ 47183 w 45720"/>
                  <a:gd name="connsiteY0" fmla="*/ 19934 h 82296"/>
                  <a:gd name="connsiteX1" fmla="*/ 41422 w 45720"/>
                  <a:gd name="connsiteY1" fmla="*/ 17556 h 82296"/>
                  <a:gd name="connsiteX2" fmla="*/ 34199 w 45720"/>
                  <a:gd name="connsiteY2" fmla="*/ 16734 h 82296"/>
                  <a:gd name="connsiteX3" fmla="*/ 21580 w 45720"/>
                  <a:gd name="connsiteY3" fmla="*/ 22403 h 82296"/>
                  <a:gd name="connsiteX4" fmla="*/ 17099 w 45720"/>
                  <a:gd name="connsiteY4" fmla="*/ 39228 h 82296"/>
                  <a:gd name="connsiteX5" fmla="*/ 17099 w 45720"/>
                  <a:gd name="connsiteY5" fmla="*/ 88971 h 82296"/>
                  <a:gd name="connsiteX6" fmla="*/ 0 w 45720"/>
                  <a:gd name="connsiteY6" fmla="*/ 88971 h 82296"/>
                  <a:gd name="connsiteX7" fmla="*/ 0 w 45720"/>
                  <a:gd name="connsiteY7" fmla="*/ 1920 h 82296"/>
                  <a:gd name="connsiteX8" fmla="*/ 17099 w 45720"/>
                  <a:gd name="connsiteY8" fmla="*/ 1920 h 82296"/>
                  <a:gd name="connsiteX9" fmla="*/ 17099 w 45720"/>
                  <a:gd name="connsiteY9" fmla="*/ 10150 h 82296"/>
                  <a:gd name="connsiteX10" fmla="*/ 20666 w 45720"/>
                  <a:gd name="connsiteY10" fmla="*/ 6126 h 82296"/>
                  <a:gd name="connsiteX11" fmla="*/ 25329 w 45720"/>
                  <a:gd name="connsiteY11" fmla="*/ 2926 h 82296"/>
                  <a:gd name="connsiteX12" fmla="*/ 30815 w 45720"/>
                  <a:gd name="connsiteY12" fmla="*/ 732 h 82296"/>
                  <a:gd name="connsiteX13" fmla="*/ 36942 w 45720"/>
                  <a:gd name="connsiteY13" fmla="*/ 0 h 82296"/>
                  <a:gd name="connsiteX14" fmla="*/ 45720 w 45720"/>
                  <a:gd name="connsiteY14" fmla="*/ 1006 h 82296"/>
                  <a:gd name="connsiteX15" fmla="*/ 51755 w 45720"/>
                  <a:gd name="connsiteY15" fmla="*/ 3658 h 82296"/>
                  <a:gd name="connsiteX16" fmla="*/ 47183 w 45720"/>
                  <a:gd name="connsiteY16" fmla="*/ 19934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 h="82296">
                    <a:moveTo>
                      <a:pt x="47183" y="19934"/>
                    </a:moveTo>
                    <a:cubicBezTo>
                      <a:pt x="45354" y="18928"/>
                      <a:pt x="43434" y="18105"/>
                      <a:pt x="41422" y="17556"/>
                    </a:cubicBezTo>
                    <a:cubicBezTo>
                      <a:pt x="39411" y="17008"/>
                      <a:pt x="36942" y="16734"/>
                      <a:pt x="34199" y="16734"/>
                    </a:cubicBezTo>
                    <a:cubicBezTo>
                      <a:pt x="28712" y="16734"/>
                      <a:pt x="24506" y="18562"/>
                      <a:pt x="21580" y="22403"/>
                    </a:cubicBezTo>
                    <a:cubicBezTo>
                      <a:pt x="18654" y="26152"/>
                      <a:pt x="17099" y="31730"/>
                      <a:pt x="17099" y="39228"/>
                    </a:cubicBezTo>
                    <a:lnTo>
                      <a:pt x="17099" y="88971"/>
                    </a:lnTo>
                    <a:lnTo>
                      <a:pt x="0" y="88971"/>
                    </a:lnTo>
                    <a:lnTo>
                      <a:pt x="0" y="1920"/>
                    </a:lnTo>
                    <a:lnTo>
                      <a:pt x="17099" y="1920"/>
                    </a:lnTo>
                    <a:lnTo>
                      <a:pt x="17099" y="10150"/>
                    </a:lnTo>
                    <a:cubicBezTo>
                      <a:pt x="18105" y="8687"/>
                      <a:pt x="19294" y="7315"/>
                      <a:pt x="20666" y="6126"/>
                    </a:cubicBezTo>
                    <a:cubicBezTo>
                      <a:pt x="22037" y="4938"/>
                      <a:pt x="23592" y="3840"/>
                      <a:pt x="25329" y="2926"/>
                    </a:cubicBezTo>
                    <a:cubicBezTo>
                      <a:pt x="27066" y="2012"/>
                      <a:pt x="28895" y="1280"/>
                      <a:pt x="30815" y="732"/>
                    </a:cubicBezTo>
                    <a:cubicBezTo>
                      <a:pt x="32736" y="183"/>
                      <a:pt x="34839" y="0"/>
                      <a:pt x="36942" y="0"/>
                    </a:cubicBezTo>
                    <a:cubicBezTo>
                      <a:pt x="40416" y="0"/>
                      <a:pt x="43343" y="366"/>
                      <a:pt x="45720" y="1006"/>
                    </a:cubicBezTo>
                    <a:cubicBezTo>
                      <a:pt x="48006" y="1646"/>
                      <a:pt x="50109" y="2560"/>
                      <a:pt x="51755" y="3658"/>
                    </a:cubicBezTo>
                    <a:lnTo>
                      <a:pt x="47183" y="1993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358" name="Freeform: Shape 357">
              <a:extLst>
                <a:ext uri="{FF2B5EF4-FFF2-40B4-BE49-F238E27FC236}">
                  <a16:creationId xmlns:a16="http://schemas.microsoft.com/office/drawing/2014/main" id="{6FCB2113-090E-40A6-9AFC-1BB733DA28B8}"/>
                </a:ext>
              </a:extLst>
            </p:cNvPr>
            <p:cNvSpPr/>
            <p:nvPr/>
          </p:nvSpPr>
          <p:spPr>
            <a:xfrm>
              <a:off x="1989038" y="6218560"/>
              <a:ext cx="9144" cy="118872"/>
            </a:xfrm>
            <a:custGeom>
              <a:avLst/>
              <a:gdLst>
                <a:gd name="connsiteX0" fmla="*/ 0 w 9144"/>
                <a:gd name="connsiteY0" fmla="*/ 8961 h 118872"/>
                <a:gd name="connsiteX1" fmla="*/ 0 w 9144"/>
                <a:gd name="connsiteY1" fmla="*/ 120975 h 118872"/>
                <a:gd name="connsiteX2" fmla="*/ 17099 w 9144"/>
                <a:gd name="connsiteY2" fmla="*/ 120975 h 118872"/>
                <a:gd name="connsiteX3" fmla="*/ 17099 w 9144"/>
                <a:gd name="connsiteY3" fmla="*/ 0 h 118872"/>
              </a:gdLst>
              <a:ahLst/>
              <a:cxnLst>
                <a:cxn ang="0">
                  <a:pos x="connsiteX0" y="connsiteY0"/>
                </a:cxn>
                <a:cxn ang="0">
                  <a:pos x="connsiteX1" y="connsiteY1"/>
                </a:cxn>
                <a:cxn ang="0">
                  <a:pos x="connsiteX2" y="connsiteY2"/>
                </a:cxn>
                <a:cxn ang="0">
                  <a:pos x="connsiteX3" y="connsiteY3"/>
                </a:cxn>
              </a:cxnLst>
              <a:rect l="l" t="t" r="r" b="b"/>
              <a:pathLst>
                <a:path w="9144" h="118872">
                  <a:moveTo>
                    <a:pt x="0" y="8961"/>
                  </a:moveTo>
                  <a:lnTo>
                    <a:pt x="0" y="120975"/>
                  </a:lnTo>
                  <a:lnTo>
                    <a:pt x="17099" y="120975"/>
                  </a:lnTo>
                  <a:lnTo>
                    <a:pt x="17099"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9" name="Freeform: Shape 358">
              <a:extLst>
                <a:ext uri="{FF2B5EF4-FFF2-40B4-BE49-F238E27FC236}">
                  <a16:creationId xmlns:a16="http://schemas.microsoft.com/office/drawing/2014/main" id="{794BDBF5-CCDC-4445-978A-EBBF95BFE479}"/>
                </a:ext>
              </a:extLst>
            </p:cNvPr>
            <p:cNvSpPr/>
            <p:nvPr/>
          </p:nvSpPr>
          <p:spPr>
            <a:xfrm>
              <a:off x="2025157" y="6218560"/>
              <a:ext cx="64008" cy="118872"/>
            </a:xfrm>
            <a:custGeom>
              <a:avLst/>
              <a:gdLst>
                <a:gd name="connsiteX0" fmla="*/ 56236 w 64008"/>
                <a:gd name="connsiteY0" fmla="*/ 59253 h 118872"/>
                <a:gd name="connsiteX1" fmla="*/ 52669 w 64008"/>
                <a:gd name="connsiteY1" fmla="*/ 55321 h 118872"/>
                <a:gd name="connsiteX2" fmla="*/ 47823 w 64008"/>
                <a:gd name="connsiteY2" fmla="*/ 51664 h 118872"/>
                <a:gd name="connsiteX3" fmla="*/ 42062 w 64008"/>
                <a:gd name="connsiteY3" fmla="*/ 48920 h 118872"/>
                <a:gd name="connsiteX4" fmla="*/ 35753 w 64008"/>
                <a:gd name="connsiteY4" fmla="*/ 47915 h 118872"/>
                <a:gd name="connsiteX5" fmla="*/ 21580 w 64008"/>
                <a:gd name="connsiteY5" fmla="*/ 54864 h 118872"/>
                <a:gd name="connsiteX6" fmla="*/ 16733 w 64008"/>
                <a:gd name="connsiteY6" fmla="*/ 75621 h 118872"/>
                <a:gd name="connsiteX7" fmla="*/ 18014 w 64008"/>
                <a:gd name="connsiteY7" fmla="*/ 89794 h 118872"/>
                <a:gd name="connsiteX8" fmla="*/ 21854 w 64008"/>
                <a:gd name="connsiteY8" fmla="*/ 99578 h 118872"/>
                <a:gd name="connsiteX9" fmla="*/ 27981 w 64008"/>
                <a:gd name="connsiteY9" fmla="*/ 105339 h 118872"/>
                <a:gd name="connsiteX10" fmla="*/ 36302 w 64008"/>
                <a:gd name="connsiteY10" fmla="*/ 107168 h 118872"/>
                <a:gd name="connsiteX11" fmla="*/ 42245 w 64008"/>
                <a:gd name="connsiteY11" fmla="*/ 106253 h 118872"/>
                <a:gd name="connsiteX12" fmla="*/ 47549 w 64008"/>
                <a:gd name="connsiteY12" fmla="*/ 103693 h 118872"/>
                <a:gd name="connsiteX13" fmla="*/ 52212 w 64008"/>
                <a:gd name="connsiteY13" fmla="*/ 100127 h 118872"/>
                <a:gd name="connsiteX14" fmla="*/ 56053 w 64008"/>
                <a:gd name="connsiteY14" fmla="*/ 96012 h 118872"/>
                <a:gd name="connsiteX15" fmla="*/ 56053 w 64008"/>
                <a:gd name="connsiteY15" fmla="*/ 59253 h 118872"/>
                <a:gd name="connsiteX16" fmla="*/ 56144 w 64008"/>
                <a:gd name="connsiteY16" fmla="*/ 120975 h 118872"/>
                <a:gd name="connsiteX17" fmla="*/ 56144 w 64008"/>
                <a:gd name="connsiteY17" fmla="*/ 112746 h 118872"/>
                <a:gd name="connsiteX18" fmla="*/ 51115 w 64008"/>
                <a:gd name="connsiteY18" fmla="*/ 116769 h 118872"/>
                <a:gd name="connsiteX19" fmla="*/ 45537 w 64008"/>
                <a:gd name="connsiteY19" fmla="*/ 120061 h 118872"/>
                <a:gd name="connsiteX20" fmla="*/ 39502 w 64008"/>
                <a:gd name="connsiteY20" fmla="*/ 122164 h 118872"/>
                <a:gd name="connsiteX21" fmla="*/ 33376 w 64008"/>
                <a:gd name="connsiteY21" fmla="*/ 122804 h 118872"/>
                <a:gd name="connsiteX22" fmla="*/ 20300 w 64008"/>
                <a:gd name="connsiteY22" fmla="*/ 120152 h 118872"/>
                <a:gd name="connsiteX23" fmla="*/ 9693 w 64008"/>
                <a:gd name="connsiteY23" fmla="*/ 111831 h 118872"/>
                <a:gd name="connsiteX24" fmla="*/ 2560 w 64008"/>
                <a:gd name="connsiteY24" fmla="*/ 97292 h 118872"/>
                <a:gd name="connsiteX25" fmla="*/ 0 w 64008"/>
                <a:gd name="connsiteY25" fmla="*/ 75987 h 118872"/>
                <a:gd name="connsiteX26" fmla="*/ 2743 w 64008"/>
                <a:gd name="connsiteY26" fmla="*/ 56510 h 118872"/>
                <a:gd name="connsiteX27" fmla="*/ 10241 w 64008"/>
                <a:gd name="connsiteY27" fmla="*/ 42794 h 118872"/>
                <a:gd name="connsiteX28" fmla="*/ 21214 w 64008"/>
                <a:gd name="connsiteY28" fmla="*/ 34656 h 118872"/>
                <a:gd name="connsiteX29" fmla="*/ 34198 w 64008"/>
                <a:gd name="connsiteY29" fmla="*/ 32004 h 118872"/>
                <a:gd name="connsiteX30" fmla="*/ 40691 w 64008"/>
                <a:gd name="connsiteY30" fmla="*/ 32827 h 118872"/>
                <a:gd name="connsiteX31" fmla="*/ 46634 w 64008"/>
                <a:gd name="connsiteY31" fmla="*/ 35022 h 118872"/>
                <a:gd name="connsiteX32" fmla="*/ 51846 w 64008"/>
                <a:gd name="connsiteY32" fmla="*/ 38222 h 118872"/>
                <a:gd name="connsiteX33" fmla="*/ 56144 w 64008"/>
                <a:gd name="connsiteY33" fmla="*/ 41971 h 118872"/>
                <a:gd name="connsiteX34" fmla="*/ 56144 w 64008"/>
                <a:gd name="connsiteY34" fmla="*/ 8870 h 118872"/>
                <a:gd name="connsiteX35" fmla="*/ 73060 w 64008"/>
                <a:gd name="connsiteY35" fmla="*/ 0 h 118872"/>
                <a:gd name="connsiteX36" fmla="*/ 73060 w 64008"/>
                <a:gd name="connsiteY36" fmla="*/ 120975 h 118872"/>
                <a:gd name="connsiteX37" fmla="*/ 56144 w 64008"/>
                <a:gd name="connsiteY37" fmla="*/ 120975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4008" h="118872">
                  <a:moveTo>
                    <a:pt x="56236" y="59253"/>
                  </a:moveTo>
                  <a:cubicBezTo>
                    <a:pt x="55230" y="57973"/>
                    <a:pt x="54041" y="56601"/>
                    <a:pt x="52669" y="55321"/>
                  </a:cubicBezTo>
                  <a:cubicBezTo>
                    <a:pt x="51206" y="53950"/>
                    <a:pt x="49652" y="52761"/>
                    <a:pt x="47823" y="51664"/>
                  </a:cubicBezTo>
                  <a:cubicBezTo>
                    <a:pt x="46086" y="50566"/>
                    <a:pt x="44165" y="49652"/>
                    <a:pt x="42062" y="48920"/>
                  </a:cubicBezTo>
                  <a:cubicBezTo>
                    <a:pt x="40051" y="48189"/>
                    <a:pt x="37948" y="47915"/>
                    <a:pt x="35753" y="47915"/>
                  </a:cubicBezTo>
                  <a:cubicBezTo>
                    <a:pt x="29535" y="47915"/>
                    <a:pt x="24780" y="50201"/>
                    <a:pt x="21580" y="54864"/>
                  </a:cubicBezTo>
                  <a:cubicBezTo>
                    <a:pt x="18379" y="59527"/>
                    <a:pt x="16733" y="66385"/>
                    <a:pt x="16733" y="75621"/>
                  </a:cubicBezTo>
                  <a:cubicBezTo>
                    <a:pt x="16733" y="81107"/>
                    <a:pt x="17191" y="85771"/>
                    <a:pt x="18014" y="89794"/>
                  </a:cubicBezTo>
                  <a:cubicBezTo>
                    <a:pt x="18928" y="93726"/>
                    <a:pt x="20117" y="97018"/>
                    <a:pt x="21854" y="99578"/>
                  </a:cubicBezTo>
                  <a:cubicBezTo>
                    <a:pt x="23500" y="102139"/>
                    <a:pt x="25603" y="104059"/>
                    <a:pt x="27981" y="105339"/>
                  </a:cubicBezTo>
                  <a:cubicBezTo>
                    <a:pt x="30449" y="106619"/>
                    <a:pt x="33193" y="107168"/>
                    <a:pt x="36302" y="107168"/>
                  </a:cubicBezTo>
                  <a:cubicBezTo>
                    <a:pt x="38313" y="107168"/>
                    <a:pt x="40325" y="106893"/>
                    <a:pt x="42245" y="106253"/>
                  </a:cubicBezTo>
                  <a:cubicBezTo>
                    <a:pt x="44165" y="105613"/>
                    <a:pt x="45903" y="104790"/>
                    <a:pt x="47549" y="103693"/>
                  </a:cubicBezTo>
                  <a:cubicBezTo>
                    <a:pt x="49195" y="102596"/>
                    <a:pt x="50749" y="101498"/>
                    <a:pt x="52212" y="100127"/>
                  </a:cubicBezTo>
                  <a:cubicBezTo>
                    <a:pt x="53675" y="98847"/>
                    <a:pt x="54955" y="97475"/>
                    <a:pt x="56053" y="96012"/>
                  </a:cubicBezTo>
                  <a:lnTo>
                    <a:pt x="56053" y="59253"/>
                  </a:lnTo>
                  <a:close/>
                  <a:moveTo>
                    <a:pt x="56144" y="120975"/>
                  </a:moveTo>
                  <a:lnTo>
                    <a:pt x="56144" y="112746"/>
                  </a:lnTo>
                  <a:cubicBezTo>
                    <a:pt x="54498" y="114209"/>
                    <a:pt x="52852" y="115580"/>
                    <a:pt x="51115" y="116769"/>
                  </a:cubicBezTo>
                  <a:cubicBezTo>
                    <a:pt x="49378" y="118049"/>
                    <a:pt x="47549" y="119146"/>
                    <a:pt x="45537" y="120061"/>
                  </a:cubicBezTo>
                  <a:cubicBezTo>
                    <a:pt x="43525" y="121067"/>
                    <a:pt x="41514" y="121707"/>
                    <a:pt x="39502" y="122164"/>
                  </a:cubicBezTo>
                  <a:cubicBezTo>
                    <a:pt x="37490" y="122621"/>
                    <a:pt x="35479" y="122804"/>
                    <a:pt x="33376" y="122804"/>
                  </a:cubicBezTo>
                  <a:cubicBezTo>
                    <a:pt x="28712" y="122804"/>
                    <a:pt x="24323" y="121890"/>
                    <a:pt x="20300" y="120152"/>
                  </a:cubicBezTo>
                  <a:cubicBezTo>
                    <a:pt x="16276" y="118415"/>
                    <a:pt x="12710" y="115672"/>
                    <a:pt x="9693" y="111831"/>
                  </a:cubicBezTo>
                  <a:cubicBezTo>
                    <a:pt x="6675" y="108082"/>
                    <a:pt x="4298" y="103236"/>
                    <a:pt x="2560" y="97292"/>
                  </a:cubicBezTo>
                  <a:cubicBezTo>
                    <a:pt x="823" y="91349"/>
                    <a:pt x="0" y="84308"/>
                    <a:pt x="0" y="75987"/>
                  </a:cubicBezTo>
                  <a:cubicBezTo>
                    <a:pt x="0" y="68489"/>
                    <a:pt x="914" y="61996"/>
                    <a:pt x="2743" y="56510"/>
                  </a:cubicBezTo>
                  <a:cubicBezTo>
                    <a:pt x="4663" y="51024"/>
                    <a:pt x="7132" y="46360"/>
                    <a:pt x="10241" y="42794"/>
                  </a:cubicBezTo>
                  <a:cubicBezTo>
                    <a:pt x="13442" y="39228"/>
                    <a:pt x="17008" y="36485"/>
                    <a:pt x="21214" y="34656"/>
                  </a:cubicBezTo>
                  <a:cubicBezTo>
                    <a:pt x="25329" y="32918"/>
                    <a:pt x="29718" y="32004"/>
                    <a:pt x="34198" y="32004"/>
                  </a:cubicBezTo>
                  <a:cubicBezTo>
                    <a:pt x="36393" y="32004"/>
                    <a:pt x="38588" y="32278"/>
                    <a:pt x="40691" y="32827"/>
                  </a:cubicBezTo>
                  <a:cubicBezTo>
                    <a:pt x="42794" y="33376"/>
                    <a:pt x="44806" y="34107"/>
                    <a:pt x="46634" y="35022"/>
                  </a:cubicBezTo>
                  <a:cubicBezTo>
                    <a:pt x="48555" y="35936"/>
                    <a:pt x="50292" y="37033"/>
                    <a:pt x="51846" y="38222"/>
                  </a:cubicBezTo>
                  <a:cubicBezTo>
                    <a:pt x="53492" y="39411"/>
                    <a:pt x="54864" y="40691"/>
                    <a:pt x="56144" y="41971"/>
                  </a:cubicBezTo>
                  <a:lnTo>
                    <a:pt x="56144" y="8870"/>
                  </a:lnTo>
                  <a:lnTo>
                    <a:pt x="73060" y="0"/>
                  </a:lnTo>
                  <a:lnTo>
                    <a:pt x="73060" y="120975"/>
                  </a:lnTo>
                  <a:lnTo>
                    <a:pt x="56144" y="120975"/>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60" name="Freeform: Shape 359">
              <a:extLst>
                <a:ext uri="{FF2B5EF4-FFF2-40B4-BE49-F238E27FC236}">
                  <a16:creationId xmlns:a16="http://schemas.microsoft.com/office/drawing/2014/main" id="{649587C4-8DA9-4C40-BB43-8BE50DE9B9A7}"/>
                </a:ext>
              </a:extLst>
            </p:cNvPr>
            <p:cNvSpPr/>
            <p:nvPr/>
          </p:nvSpPr>
          <p:spPr>
            <a:xfrm>
              <a:off x="2155551" y="6252393"/>
              <a:ext cx="100584" cy="82296"/>
            </a:xfrm>
            <a:custGeom>
              <a:avLst/>
              <a:gdLst>
                <a:gd name="connsiteX0" fmla="*/ 92720 w 100584"/>
                <a:gd name="connsiteY0" fmla="*/ 0 h 82296"/>
                <a:gd name="connsiteX1" fmla="*/ 78273 w 100584"/>
                <a:gd name="connsiteY1" fmla="*/ 59802 h 82296"/>
                <a:gd name="connsiteX2" fmla="*/ 61722 w 100584"/>
                <a:gd name="connsiteY2" fmla="*/ 0 h 82296"/>
                <a:gd name="connsiteX3" fmla="*/ 47915 w 100584"/>
                <a:gd name="connsiteY3" fmla="*/ 0 h 82296"/>
                <a:gd name="connsiteX4" fmla="*/ 31547 w 100584"/>
                <a:gd name="connsiteY4" fmla="*/ 59802 h 82296"/>
                <a:gd name="connsiteX5" fmla="*/ 16916 w 100584"/>
                <a:gd name="connsiteY5" fmla="*/ 0 h 82296"/>
                <a:gd name="connsiteX6" fmla="*/ 0 w 100584"/>
                <a:gd name="connsiteY6" fmla="*/ 0 h 82296"/>
                <a:gd name="connsiteX7" fmla="*/ 23866 w 100584"/>
                <a:gd name="connsiteY7" fmla="*/ 87142 h 82296"/>
                <a:gd name="connsiteX8" fmla="*/ 38496 w 100584"/>
                <a:gd name="connsiteY8" fmla="*/ 87142 h 82296"/>
                <a:gd name="connsiteX9" fmla="*/ 54590 w 100584"/>
                <a:gd name="connsiteY9" fmla="*/ 26152 h 82296"/>
                <a:gd name="connsiteX10" fmla="*/ 70775 w 100584"/>
                <a:gd name="connsiteY10" fmla="*/ 87142 h 82296"/>
                <a:gd name="connsiteX11" fmla="*/ 85405 w 100584"/>
                <a:gd name="connsiteY11" fmla="*/ 87142 h 82296"/>
                <a:gd name="connsiteX12" fmla="*/ 109637 w 100584"/>
                <a:gd name="connsiteY12" fmla="*/ 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584" h="82296">
                  <a:moveTo>
                    <a:pt x="92720" y="0"/>
                  </a:moveTo>
                  <a:lnTo>
                    <a:pt x="78273" y="59802"/>
                  </a:lnTo>
                  <a:lnTo>
                    <a:pt x="61722" y="0"/>
                  </a:lnTo>
                  <a:lnTo>
                    <a:pt x="47915" y="0"/>
                  </a:lnTo>
                  <a:lnTo>
                    <a:pt x="31547" y="59802"/>
                  </a:lnTo>
                  <a:lnTo>
                    <a:pt x="16916" y="0"/>
                  </a:lnTo>
                  <a:lnTo>
                    <a:pt x="0" y="0"/>
                  </a:lnTo>
                  <a:lnTo>
                    <a:pt x="23866" y="87142"/>
                  </a:lnTo>
                  <a:lnTo>
                    <a:pt x="38496" y="87142"/>
                  </a:lnTo>
                  <a:lnTo>
                    <a:pt x="54590" y="26152"/>
                  </a:lnTo>
                  <a:lnTo>
                    <a:pt x="70775" y="87142"/>
                  </a:lnTo>
                  <a:lnTo>
                    <a:pt x="85405" y="87142"/>
                  </a:lnTo>
                  <a:lnTo>
                    <a:pt x="109637"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361" name="Graphic 2">
              <a:extLst>
                <a:ext uri="{FF2B5EF4-FFF2-40B4-BE49-F238E27FC236}">
                  <a16:creationId xmlns:a16="http://schemas.microsoft.com/office/drawing/2014/main" id="{69916B0C-9B62-4073-A26B-3F4B3A5DFA66}"/>
                </a:ext>
              </a:extLst>
            </p:cNvPr>
            <p:cNvGrpSpPr/>
            <p:nvPr/>
          </p:nvGrpSpPr>
          <p:grpSpPr>
            <a:xfrm>
              <a:off x="2273965" y="6250564"/>
              <a:ext cx="146304" cy="82296"/>
              <a:chOff x="2273965" y="6250564"/>
              <a:chExt cx="146304" cy="82296"/>
            </a:xfrm>
            <a:solidFill>
              <a:srgbClr val="FFFFFF"/>
            </a:solidFill>
          </p:grpSpPr>
          <p:sp>
            <p:nvSpPr>
              <p:cNvPr id="362" name="Freeform: Shape 361">
                <a:extLst>
                  <a:ext uri="{FF2B5EF4-FFF2-40B4-BE49-F238E27FC236}">
                    <a16:creationId xmlns:a16="http://schemas.microsoft.com/office/drawing/2014/main" id="{DBD4A3FB-C21C-44B1-B264-B6963FA7C62E}"/>
                  </a:ext>
                </a:extLst>
              </p:cNvPr>
              <p:cNvSpPr/>
              <p:nvPr/>
            </p:nvSpPr>
            <p:spPr>
              <a:xfrm>
                <a:off x="2273965" y="6250747"/>
                <a:ext cx="73152" cy="82296"/>
              </a:xfrm>
              <a:custGeom>
                <a:avLst/>
                <a:gdLst>
                  <a:gd name="connsiteX0" fmla="*/ 60442 w 73152"/>
                  <a:gd name="connsiteY0" fmla="*/ 45263 h 82296"/>
                  <a:gd name="connsiteX1" fmla="*/ 58887 w 73152"/>
                  <a:gd name="connsiteY1" fmla="*/ 33284 h 82296"/>
                  <a:gd name="connsiteX2" fmla="*/ 54498 w 73152"/>
                  <a:gd name="connsiteY2" fmla="*/ 24049 h 82296"/>
                  <a:gd name="connsiteX3" fmla="*/ 47457 w 73152"/>
                  <a:gd name="connsiteY3" fmla="*/ 18197 h 82296"/>
                  <a:gd name="connsiteX4" fmla="*/ 38130 w 73152"/>
                  <a:gd name="connsiteY4" fmla="*/ 16093 h 82296"/>
                  <a:gd name="connsiteX5" fmla="*/ 29444 w 73152"/>
                  <a:gd name="connsiteY5" fmla="*/ 18197 h 82296"/>
                  <a:gd name="connsiteX6" fmla="*/ 22860 w 73152"/>
                  <a:gd name="connsiteY6" fmla="*/ 24049 h 82296"/>
                  <a:gd name="connsiteX7" fmla="*/ 18654 w 73152"/>
                  <a:gd name="connsiteY7" fmla="*/ 33101 h 82296"/>
                  <a:gd name="connsiteX8" fmla="*/ 17191 w 73152"/>
                  <a:gd name="connsiteY8" fmla="*/ 44806 h 82296"/>
                  <a:gd name="connsiteX9" fmla="*/ 18745 w 73152"/>
                  <a:gd name="connsiteY9" fmla="*/ 57516 h 82296"/>
                  <a:gd name="connsiteX10" fmla="*/ 23226 w 73152"/>
                  <a:gd name="connsiteY10" fmla="*/ 66751 h 82296"/>
                  <a:gd name="connsiteX11" fmla="*/ 30084 w 73152"/>
                  <a:gd name="connsiteY11" fmla="*/ 72420 h 82296"/>
                  <a:gd name="connsiteX12" fmla="*/ 38953 w 73152"/>
                  <a:gd name="connsiteY12" fmla="*/ 74341 h 82296"/>
                  <a:gd name="connsiteX13" fmla="*/ 47732 w 73152"/>
                  <a:gd name="connsiteY13" fmla="*/ 72055 h 82296"/>
                  <a:gd name="connsiteX14" fmla="*/ 54498 w 73152"/>
                  <a:gd name="connsiteY14" fmla="*/ 65837 h 82296"/>
                  <a:gd name="connsiteX15" fmla="*/ 58796 w 73152"/>
                  <a:gd name="connsiteY15" fmla="*/ 56601 h 82296"/>
                  <a:gd name="connsiteX16" fmla="*/ 60442 w 73152"/>
                  <a:gd name="connsiteY16" fmla="*/ 45263 h 82296"/>
                  <a:gd name="connsiteX17" fmla="*/ 77724 w 73152"/>
                  <a:gd name="connsiteY17" fmla="*/ 44806 h 82296"/>
                  <a:gd name="connsiteX18" fmla="*/ 74706 w 73152"/>
                  <a:gd name="connsiteY18" fmla="*/ 64191 h 82296"/>
                  <a:gd name="connsiteX19" fmla="*/ 66477 w 73152"/>
                  <a:gd name="connsiteY19" fmla="*/ 78638 h 82296"/>
                  <a:gd name="connsiteX20" fmla="*/ 53950 w 73152"/>
                  <a:gd name="connsiteY20" fmla="*/ 87600 h 82296"/>
                  <a:gd name="connsiteX21" fmla="*/ 38405 w 73152"/>
                  <a:gd name="connsiteY21" fmla="*/ 90708 h 82296"/>
                  <a:gd name="connsiteX22" fmla="*/ 23134 w 73152"/>
                  <a:gd name="connsiteY22" fmla="*/ 87508 h 82296"/>
                  <a:gd name="connsiteX23" fmla="*/ 10973 w 73152"/>
                  <a:gd name="connsiteY23" fmla="*/ 78364 h 82296"/>
                  <a:gd name="connsiteX24" fmla="*/ 2926 w 73152"/>
                  <a:gd name="connsiteY24" fmla="*/ 64008 h 82296"/>
                  <a:gd name="connsiteX25" fmla="*/ 0 w 73152"/>
                  <a:gd name="connsiteY25" fmla="*/ 45446 h 82296"/>
                  <a:gd name="connsiteX26" fmla="*/ 3018 w 73152"/>
                  <a:gd name="connsiteY26" fmla="*/ 26335 h 82296"/>
                  <a:gd name="connsiteX27" fmla="*/ 11247 w 73152"/>
                  <a:gd name="connsiteY27" fmla="*/ 12070 h 82296"/>
                  <a:gd name="connsiteX28" fmla="*/ 23592 w 73152"/>
                  <a:gd name="connsiteY28" fmla="*/ 3109 h 82296"/>
                  <a:gd name="connsiteX29" fmla="*/ 38953 w 73152"/>
                  <a:gd name="connsiteY29" fmla="*/ 0 h 82296"/>
                  <a:gd name="connsiteX30" fmla="*/ 54407 w 73152"/>
                  <a:gd name="connsiteY30" fmla="*/ 3200 h 82296"/>
                  <a:gd name="connsiteX31" fmla="*/ 66660 w 73152"/>
                  <a:gd name="connsiteY31" fmla="*/ 12253 h 82296"/>
                  <a:gd name="connsiteX32" fmla="*/ 74798 w 73152"/>
                  <a:gd name="connsiteY32" fmla="*/ 26426 h 82296"/>
                  <a:gd name="connsiteX33" fmla="*/ 77724 w 73152"/>
                  <a:gd name="connsiteY33" fmla="*/ 44806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3152" h="82296">
                    <a:moveTo>
                      <a:pt x="60442" y="45263"/>
                    </a:moveTo>
                    <a:cubicBezTo>
                      <a:pt x="60442" y="40874"/>
                      <a:pt x="59893" y="36850"/>
                      <a:pt x="58887" y="33284"/>
                    </a:cubicBezTo>
                    <a:cubicBezTo>
                      <a:pt x="57882" y="29718"/>
                      <a:pt x="56418" y="26609"/>
                      <a:pt x="54498" y="24049"/>
                    </a:cubicBezTo>
                    <a:cubicBezTo>
                      <a:pt x="52578" y="21488"/>
                      <a:pt x="50201" y="19568"/>
                      <a:pt x="47457" y="18197"/>
                    </a:cubicBezTo>
                    <a:cubicBezTo>
                      <a:pt x="44714" y="16825"/>
                      <a:pt x="41605" y="16093"/>
                      <a:pt x="38130" y="16093"/>
                    </a:cubicBezTo>
                    <a:cubicBezTo>
                      <a:pt x="34930" y="16093"/>
                      <a:pt x="32004" y="16825"/>
                      <a:pt x="29444" y="18197"/>
                    </a:cubicBezTo>
                    <a:cubicBezTo>
                      <a:pt x="26883" y="19568"/>
                      <a:pt x="24689" y="21488"/>
                      <a:pt x="22860" y="24049"/>
                    </a:cubicBezTo>
                    <a:cubicBezTo>
                      <a:pt x="21031" y="26609"/>
                      <a:pt x="19660" y="29535"/>
                      <a:pt x="18654" y="33101"/>
                    </a:cubicBezTo>
                    <a:cubicBezTo>
                      <a:pt x="17648" y="36576"/>
                      <a:pt x="17191" y="40508"/>
                      <a:pt x="17191" y="44806"/>
                    </a:cubicBezTo>
                    <a:cubicBezTo>
                      <a:pt x="17191" y="49560"/>
                      <a:pt x="17739" y="53858"/>
                      <a:pt x="18745" y="57516"/>
                    </a:cubicBezTo>
                    <a:cubicBezTo>
                      <a:pt x="19751" y="61173"/>
                      <a:pt x="21306" y="64282"/>
                      <a:pt x="23226" y="66751"/>
                    </a:cubicBezTo>
                    <a:cubicBezTo>
                      <a:pt x="25146" y="69220"/>
                      <a:pt x="27432" y="71140"/>
                      <a:pt x="30084" y="72420"/>
                    </a:cubicBezTo>
                    <a:cubicBezTo>
                      <a:pt x="32736" y="73701"/>
                      <a:pt x="35753" y="74341"/>
                      <a:pt x="38953" y="74341"/>
                    </a:cubicBezTo>
                    <a:cubicBezTo>
                      <a:pt x="42154" y="74341"/>
                      <a:pt x="45080" y="73609"/>
                      <a:pt x="47732" y="72055"/>
                    </a:cubicBezTo>
                    <a:cubicBezTo>
                      <a:pt x="50383" y="70500"/>
                      <a:pt x="52578" y="68397"/>
                      <a:pt x="54498" y="65837"/>
                    </a:cubicBezTo>
                    <a:cubicBezTo>
                      <a:pt x="56327" y="63185"/>
                      <a:pt x="57790" y="60168"/>
                      <a:pt x="58796" y="56601"/>
                    </a:cubicBezTo>
                    <a:cubicBezTo>
                      <a:pt x="59893" y="53035"/>
                      <a:pt x="60442" y="49286"/>
                      <a:pt x="60442" y="45263"/>
                    </a:cubicBezTo>
                    <a:moveTo>
                      <a:pt x="77724" y="44806"/>
                    </a:moveTo>
                    <a:cubicBezTo>
                      <a:pt x="77724" y="52029"/>
                      <a:pt x="76718" y="58522"/>
                      <a:pt x="74706" y="64191"/>
                    </a:cubicBezTo>
                    <a:cubicBezTo>
                      <a:pt x="72695" y="69860"/>
                      <a:pt x="69952" y="74706"/>
                      <a:pt x="66477" y="78638"/>
                    </a:cubicBezTo>
                    <a:cubicBezTo>
                      <a:pt x="63002" y="82570"/>
                      <a:pt x="58796" y="85588"/>
                      <a:pt x="53950" y="87600"/>
                    </a:cubicBezTo>
                    <a:cubicBezTo>
                      <a:pt x="49103" y="89611"/>
                      <a:pt x="43983" y="90708"/>
                      <a:pt x="38405" y="90708"/>
                    </a:cubicBezTo>
                    <a:cubicBezTo>
                      <a:pt x="32918" y="90708"/>
                      <a:pt x="27798" y="89611"/>
                      <a:pt x="23134" y="87508"/>
                    </a:cubicBezTo>
                    <a:cubicBezTo>
                      <a:pt x="18471" y="85314"/>
                      <a:pt x="14448" y="82296"/>
                      <a:pt x="10973" y="78364"/>
                    </a:cubicBezTo>
                    <a:cubicBezTo>
                      <a:pt x="7590" y="74432"/>
                      <a:pt x="4846" y="69586"/>
                      <a:pt x="2926" y="64008"/>
                    </a:cubicBezTo>
                    <a:cubicBezTo>
                      <a:pt x="1006" y="58430"/>
                      <a:pt x="0" y="52212"/>
                      <a:pt x="0" y="45446"/>
                    </a:cubicBezTo>
                    <a:cubicBezTo>
                      <a:pt x="0" y="38313"/>
                      <a:pt x="1006" y="31913"/>
                      <a:pt x="3018" y="26335"/>
                    </a:cubicBezTo>
                    <a:cubicBezTo>
                      <a:pt x="5029" y="20757"/>
                      <a:pt x="7772" y="16002"/>
                      <a:pt x="11247" y="12070"/>
                    </a:cubicBezTo>
                    <a:cubicBezTo>
                      <a:pt x="14722" y="8138"/>
                      <a:pt x="18837" y="5212"/>
                      <a:pt x="23592" y="3109"/>
                    </a:cubicBezTo>
                    <a:cubicBezTo>
                      <a:pt x="28346" y="1097"/>
                      <a:pt x="33467" y="0"/>
                      <a:pt x="38953" y="0"/>
                    </a:cubicBezTo>
                    <a:cubicBezTo>
                      <a:pt x="44531" y="0"/>
                      <a:pt x="49652" y="1097"/>
                      <a:pt x="54407" y="3200"/>
                    </a:cubicBezTo>
                    <a:cubicBezTo>
                      <a:pt x="59162" y="5304"/>
                      <a:pt x="63185" y="8321"/>
                      <a:pt x="66660" y="12253"/>
                    </a:cubicBezTo>
                    <a:cubicBezTo>
                      <a:pt x="70134" y="16185"/>
                      <a:pt x="72786" y="20848"/>
                      <a:pt x="74798" y="26426"/>
                    </a:cubicBezTo>
                    <a:cubicBezTo>
                      <a:pt x="76718" y="31821"/>
                      <a:pt x="77724" y="37948"/>
                      <a:pt x="77724" y="44806"/>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63" name="Freeform: Shape 362">
                <a:extLst>
                  <a:ext uri="{FF2B5EF4-FFF2-40B4-BE49-F238E27FC236}">
                    <a16:creationId xmlns:a16="http://schemas.microsoft.com/office/drawing/2014/main" id="{0066E317-04A2-48AF-9F53-EEF9117A59E6}"/>
                  </a:ext>
                </a:extLst>
              </p:cNvPr>
              <p:cNvSpPr/>
              <p:nvPr/>
            </p:nvSpPr>
            <p:spPr>
              <a:xfrm>
                <a:off x="2369429" y="6250564"/>
                <a:ext cx="45720" cy="82296"/>
              </a:xfrm>
              <a:custGeom>
                <a:avLst/>
                <a:gdLst>
                  <a:gd name="connsiteX0" fmla="*/ 47183 w 45720"/>
                  <a:gd name="connsiteY0" fmla="*/ 19934 h 82296"/>
                  <a:gd name="connsiteX1" fmla="*/ 41422 w 45720"/>
                  <a:gd name="connsiteY1" fmla="*/ 17556 h 82296"/>
                  <a:gd name="connsiteX2" fmla="*/ 34199 w 45720"/>
                  <a:gd name="connsiteY2" fmla="*/ 16734 h 82296"/>
                  <a:gd name="connsiteX3" fmla="*/ 21580 w 45720"/>
                  <a:gd name="connsiteY3" fmla="*/ 22403 h 82296"/>
                  <a:gd name="connsiteX4" fmla="*/ 17099 w 45720"/>
                  <a:gd name="connsiteY4" fmla="*/ 39228 h 82296"/>
                  <a:gd name="connsiteX5" fmla="*/ 17099 w 45720"/>
                  <a:gd name="connsiteY5" fmla="*/ 88971 h 82296"/>
                  <a:gd name="connsiteX6" fmla="*/ 0 w 45720"/>
                  <a:gd name="connsiteY6" fmla="*/ 88971 h 82296"/>
                  <a:gd name="connsiteX7" fmla="*/ 0 w 45720"/>
                  <a:gd name="connsiteY7" fmla="*/ 1920 h 82296"/>
                  <a:gd name="connsiteX8" fmla="*/ 17099 w 45720"/>
                  <a:gd name="connsiteY8" fmla="*/ 1920 h 82296"/>
                  <a:gd name="connsiteX9" fmla="*/ 17099 w 45720"/>
                  <a:gd name="connsiteY9" fmla="*/ 10150 h 82296"/>
                  <a:gd name="connsiteX10" fmla="*/ 20665 w 45720"/>
                  <a:gd name="connsiteY10" fmla="*/ 6126 h 82296"/>
                  <a:gd name="connsiteX11" fmla="*/ 25329 w 45720"/>
                  <a:gd name="connsiteY11" fmla="*/ 2926 h 82296"/>
                  <a:gd name="connsiteX12" fmla="*/ 30815 w 45720"/>
                  <a:gd name="connsiteY12" fmla="*/ 732 h 82296"/>
                  <a:gd name="connsiteX13" fmla="*/ 36942 w 45720"/>
                  <a:gd name="connsiteY13" fmla="*/ 0 h 82296"/>
                  <a:gd name="connsiteX14" fmla="*/ 45720 w 45720"/>
                  <a:gd name="connsiteY14" fmla="*/ 1006 h 82296"/>
                  <a:gd name="connsiteX15" fmla="*/ 51755 w 45720"/>
                  <a:gd name="connsiteY15" fmla="*/ 3658 h 82296"/>
                  <a:gd name="connsiteX16" fmla="*/ 47183 w 45720"/>
                  <a:gd name="connsiteY16" fmla="*/ 19934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 h="82296">
                    <a:moveTo>
                      <a:pt x="47183" y="19934"/>
                    </a:moveTo>
                    <a:cubicBezTo>
                      <a:pt x="45354" y="18928"/>
                      <a:pt x="43434" y="18105"/>
                      <a:pt x="41422" y="17556"/>
                    </a:cubicBezTo>
                    <a:cubicBezTo>
                      <a:pt x="39411" y="17008"/>
                      <a:pt x="36942" y="16734"/>
                      <a:pt x="34199" y="16734"/>
                    </a:cubicBezTo>
                    <a:cubicBezTo>
                      <a:pt x="28712" y="16734"/>
                      <a:pt x="24506" y="18562"/>
                      <a:pt x="21580" y="22403"/>
                    </a:cubicBezTo>
                    <a:cubicBezTo>
                      <a:pt x="18654" y="26152"/>
                      <a:pt x="17099" y="31730"/>
                      <a:pt x="17099" y="39228"/>
                    </a:cubicBezTo>
                    <a:lnTo>
                      <a:pt x="17099" y="88971"/>
                    </a:lnTo>
                    <a:lnTo>
                      <a:pt x="0" y="88971"/>
                    </a:lnTo>
                    <a:lnTo>
                      <a:pt x="0" y="1920"/>
                    </a:lnTo>
                    <a:lnTo>
                      <a:pt x="17099" y="1920"/>
                    </a:lnTo>
                    <a:lnTo>
                      <a:pt x="17099" y="10150"/>
                    </a:lnTo>
                    <a:cubicBezTo>
                      <a:pt x="18105" y="8687"/>
                      <a:pt x="19294" y="7315"/>
                      <a:pt x="20665" y="6126"/>
                    </a:cubicBezTo>
                    <a:cubicBezTo>
                      <a:pt x="22037" y="4938"/>
                      <a:pt x="23592" y="3840"/>
                      <a:pt x="25329" y="2926"/>
                    </a:cubicBezTo>
                    <a:cubicBezTo>
                      <a:pt x="27066" y="2012"/>
                      <a:pt x="28895" y="1280"/>
                      <a:pt x="30815" y="732"/>
                    </a:cubicBezTo>
                    <a:cubicBezTo>
                      <a:pt x="32736" y="183"/>
                      <a:pt x="34839" y="0"/>
                      <a:pt x="36942" y="0"/>
                    </a:cubicBezTo>
                    <a:cubicBezTo>
                      <a:pt x="40416" y="0"/>
                      <a:pt x="43343" y="366"/>
                      <a:pt x="45720" y="1006"/>
                    </a:cubicBezTo>
                    <a:cubicBezTo>
                      <a:pt x="48006" y="1646"/>
                      <a:pt x="50109" y="2560"/>
                      <a:pt x="51755" y="3658"/>
                    </a:cubicBezTo>
                    <a:lnTo>
                      <a:pt x="47183" y="19934"/>
                    </a:lnTo>
                    <a:close/>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364" name="Freeform: Shape 363">
              <a:extLst>
                <a:ext uri="{FF2B5EF4-FFF2-40B4-BE49-F238E27FC236}">
                  <a16:creationId xmlns:a16="http://schemas.microsoft.com/office/drawing/2014/main" id="{E9AFCC69-D6BE-41B1-924E-97AD31F44EA3}"/>
                </a:ext>
              </a:extLst>
            </p:cNvPr>
            <p:cNvSpPr/>
            <p:nvPr/>
          </p:nvSpPr>
          <p:spPr>
            <a:xfrm>
              <a:off x="2435357" y="6218560"/>
              <a:ext cx="64008" cy="118872"/>
            </a:xfrm>
            <a:custGeom>
              <a:avLst/>
              <a:gdLst>
                <a:gd name="connsiteX0" fmla="*/ 0 w 64008"/>
                <a:gd name="connsiteY0" fmla="*/ 8961 h 118872"/>
                <a:gd name="connsiteX1" fmla="*/ 0 w 64008"/>
                <a:gd name="connsiteY1" fmla="*/ 120975 h 118872"/>
                <a:gd name="connsiteX2" fmla="*/ 17099 w 64008"/>
                <a:gd name="connsiteY2" fmla="*/ 120975 h 118872"/>
                <a:gd name="connsiteX3" fmla="*/ 17099 w 64008"/>
                <a:gd name="connsiteY3" fmla="*/ 95281 h 118872"/>
                <a:gd name="connsiteX4" fmla="*/ 30358 w 64008"/>
                <a:gd name="connsiteY4" fmla="*/ 77633 h 118872"/>
                <a:gd name="connsiteX5" fmla="*/ 49652 w 64008"/>
                <a:gd name="connsiteY5" fmla="*/ 120975 h 118872"/>
                <a:gd name="connsiteX6" fmla="*/ 68123 w 64008"/>
                <a:gd name="connsiteY6" fmla="*/ 120975 h 118872"/>
                <a:gd name="connsiteX7" fmla="*/ 41971 w 64008"/>
                <a:gd name="connsiteY7" fmla="*/ 63002 h 118872"/>
                <a:gd name="connsiteX8" fmla="*/ 64008 w 64008"/>
                <a:gd name="connsiteY8" fmla="*/ 33833 h 118872"/>
                <a:gd name="connsiteX9" fmla="*/ 44623 w 64008"/>
                <a:gd name="connsiteY9" fmla="*/ 33833 h 118872"/>
                <a:gd name="connsiteX10" fmla="*/ 17099 w 64008"/>
                <a:gd name="connsiteY10" fmla="*/ 72421 h 118872"/>
                <a:gd name="connsiteX11" fmla="*/ 17099 w 64008"/>
                <a:gd name="connsiteY11" fmla="*/ 0 h 11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008" h="118872">
                  <a:moveTo>
                    <a:pt x="0" y="8961"/>
                  </a:moveTo>
                  <a:lnTo>
                    <a:pt x="0" y="120975"/>
                  </a:lnTo>
                  <a:lnTo>
                    <a:pt x="17099" y="120975"/>
                  </a:lnTo>
                  <a:lnTo>
                    <a:pt x="17099" y="95281"/>
                  </a:lnTo>
                  <a:lnTo>
                    <a:pt x="30358" y="77633"/>
                  </a:lnTo>
                  <a:lnTo>
                    <a:pt x="49652" y="120975"/>
                  </a:lnTo>
                  <a:lnTo>
                    <a:pt x="68123" y="120975"/>
                  </a:lnTo>
                  <a:lnTo>
                    <a:pt x="41971" y="63002"/>
                  </a:lnTo>
                  <a:lnTo>
                    <a:pt x="64008" y="33833"/>
                  </a:lnTo>
                  <a:lnTo>
                    <a:pt x="44623" y="33833"/>
                  </a:lnTo>
                  <a:lnTo>
                    <a:pt x="17099" y="72421"/>
                  </a:lnTo>
                  <a:lnTo>
                    <a:pt x="17099" y="0"/>
                  </a:lnTo>
                  <a:close/>
                </a:path>
              </a:pathLst>
            </a:custGeom>
            <a:solidFill>
              <a:srgbClr val="FFFFFF"/>
            </a:solid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365" name="Graphic 2">
              <a:extLst>
                <a:ext uri="{FF2B5EF4-FFF2-40B4-BE49-F238E27FC236}">
                  <a16:creationId xmlns:a16="http://schemas.microsoft.com/office/drawing/2014/main" id="{69916B0C-9B62-4073-A26B-3F4B3A5DFA66}"/>
                </a:ext>
              </a:extLst>
            </p:cNvPr>
            <p:cNvGrpSpPr/>
            <p:nvPr/>
          </p:nvGrpSpPr>
          <p:grpSpPr>
            <a:xfrm>
              <a:off x="2512075" y="6250473"/>
              <a:ext cx="100584" cy="82296"/>
              <a:chOff x="2512075" y="6250473"/>
              <a:chExt cx="100584" cy="82296"/>
            </a:xfrm>
            <a:solidFill>
              <a:srgbClr val="FFFFFF"/>
            </a:solidFill>
          </p:grpSpPr>
          <p:sp>
            <p:nvSpPr>
              <p:cNvPr id="366" name="Freeform: Shape 365">
                <a:extLst>
                  <a:ext uri="{FF2B5EF4-FFF2-40B4-BE49-F238E27FC236}">
                    <a16:creationId xmlns:a16="http://schemas.microsoft.com/office/drawing/2014/main" id="{1DF77209-ECEA-42D4-9E53-563E4E49D749}"/>
                  </a:ext>
                </a:extLst>
              </p:cNvPr>
              <p:cNvSpPr/>
              <p:nvPr/>
            </p:nvSpPr>
            <p:spPr>
              <a:xfrm>
                <a:off x="2512075" y="6250473"/>
                <a:ext cx="64008" cy="82296"/>
              </a:xfrm>
              <a:custGeom>
                <a:avLst/>
                <a:gdLst>
                  <a:gd name="connsiteX0" fmla="*/ 62545 w 64008"/>
                  <a:gd name="connsiteY0" fmla="*/ 9693 h 82296"/>
                  <a:gd name="connsiteX1" fmla="*/ 55047 w 64008"/>
                  <a:gd name="connsiteY1" fmla="*/ 22860 h 82296"/>
                  <a:gd name="connsiteX2" fmla="*/ 44257 w 64008"/>
                  <a:gd name="connsiteY2" fmla="*/ 17191 h 82296"/>
                  <a:gd name="connsiteX3" fmla="*/ 32553 w 64008"/>
                  <a:gd name="connsiteY3" fmla="*/ 15362 h 82296"/>
                  <a:gd name="connsiteX4" fmla="*/ 23409 w 64008"/>
                  <a:gd name="connsiteY4" fmla="*/ 17556 h 82296"/>
                  <a:gd name="connsiteX5" fmla="*/ 20574 w 64008"/>
                  <a:gd name="connsiteY5" fmla="*/ 23226 h 82296"/>
                  <a:gd name="connsiteX6" fmla="*/ 21305 w 64008"/>
                  <a:gd name="connsiteY6" fmla="*/ 26335 h 82296"/>
                  <a:gd name="connsiteX7" fmla="*/ 23774 w 64008"/>
                  <a:gd name="connsiteY7" fmla="*/ 29261 h 82296"/>
                  <a:gd name="connsiteX8" fmla="*/ 28712 w 64008"/>
                  <a:gd name="connsiteY8" fmla="*/ 32370 h 82296"/>
                  <a:gd name="connsiteX9" fmla="*/ 36759 w 64008"/>
                  <a:gd name="connsiteY9" fmla="*/ 35936 h 82296"/>
                  <a:gd name="connsiteX10" fmla="*/ 49469 w 64008"/>
                  <a:gd name="connsiteY10" fmla="*/ 41331 h 82296"/>
                  <a:gd name="connsiteX11" fmla="*/ 58613 w 64008"/>
                  <a:gd name="connsiteY11" fmla="*/ 47092 h 82296"/>
                  <a:gd name="connsiteX12" fmla="*/ 64191 w 64008"/>
                  <a:gd name="connsiteY12" fmla="*/ 54590 h 82296"/>
                  <a:gd name="connsiteX13" fmla="*/ 66111 w 64008"/>
                  <a:gd name="connsiteY13" fmla="*/ 65014 h 82296"/>
                  <a:gd name="connsiteX14" fmla="*/ 63368 w 64008"/>
                  <a:gd name="connsiteY14" fmla="*/ 77175 h 82296"/>
                  <a:gd name="connsiteX15" fmla="*/ 56144 w 64008"/>
                  <a:gd name="connsiteY15" fmla="*/ 85131 h 82296"/>
                  <a:gd name="connsiteX16" fmla="*/ 45720 w 64008"/>
                  <a:gd name="connsiteY16" fmla="*/ 89428 h 82296"/>
                  <a:gd name="connsiteX17" fmla="*/ 33376 w 64008"/>
                  <a:gd name="connsiteY17" fmla="*/ 90708 h 82296"/>
                  <a:gd name="connsiteX18" fmla="*/ 16002 w 64008"/>
                  <a:gd name="connsiteY18" fmla="*/ 87691 h 82296"/>
                  <a:gd name="connsiteX19" fmla="*/ 0 w 64008"/>
                  <a:gd name="connsiteY19" fmla="*/ 79553 h 82296"/>
                  <a:gd name="connsiteX20" fmla="*/ 7772 w 64008"/>
                  <a:gd name="connsiteY20" fmla="*/ 66660 h 82296"/>
                  <a:gd name="connsiteX21" fmla="*/ 20482 w 64008"/>
                  <a:gd name="connsiteY21" fmla="*/ 73061 h 82296"/>
                  <a:gd name="connsiteX22" fmla="*/ 33193 w 64008"/>
                  <a:gd name="connsiteY22" fmla="*/ 75255 h 82296"/>
                  <a:gd name="connsiteX23" fmla="*/ 45171 w 64008"/>
                  <a:gd name="connsiteY23" fmla="*/ 72786 h 82296"/>
                  <a:gd name="connsiteX24" fmla="*/ 49103 w 64008"/>
                  <a:gd name="connsiteY24" fmla="*/ 65654 h 82296"/>
                  <a:gd name="connsiteX25" fmla="*/ 47732 w 64008"/>
                  <a:gd name="connsiteY25" fmla="*/ 61265 h 82296"/>
                  <a:gd name="connsiteX26" fmla="*/ 43708 w 64008"/>
                  <a:gd name="connsiteY26" fmla="*/ 57699 h 82296"/>
                  <a:gd name="connsiteX27" fmla="*/ 37307 w 64008"/>
                  <a:gd name="connsiteY27" fmla="*/ 54498 h 82296"/>
                  <a:gd name="connsiteX28" fmla="*/ 28895 w 64008"/>
                  <a:gd name="connsiteY28" fmla="*/ 51115 h 82296"/>
                  <a:gd name="connsiteX29" fmla="*/ 16916 w 64008"/>
                  <a:gd name="connsiteY29" fmla="*/ 45720 h 82296"/>
                  <a:gd name="connsiteX30" fmla="*/ 8961 w 64008"/>
                  <a:gd name="connsiteY30" fmla="*/ 39868 h 82296"/>
                  <a:gd name="connsiteX31" fmla="*/ 4572 w 64008"/>
                  <a:gd name="connsiteY31" fmla="*/ 32827 h 82296"/>
                  <a:gd name="connsiteX32" fmla="*/ 3200 w 64008"/>
                  <a:gd name="connsiteY32" fmla="*/ 23774 h 82296"/>
                  <a:gd name="connsiteX33" fmla="*/ 5395 w 64008"/>
                  <a:gd name="connsiteY33" fmla="*/ 13442 h 82296"/>
                  <a:gd name="connsiteX34" fmla="*/ 11521 w 64008"/>
                  <a:gd name="connsiteY34" fmla="*/ 6035 h 82296"/>
                  <a:gd name="connsiteX35" fmla="*/ 20940 w 64008"/>
                  <a:gd name="connsiteY35" fmla="*/ 1554 h 82296"/>
                  <a:gd name="connsiteX36" fmla="*/ 32918 w 64008"/>
                  <a:gd name="connsiteY36" fmla="*/ 0 h 82296"/>
                  <a:gd name="connsiteX37" fmla="*/ 48829 w 64008"/>
                  <a:gd name="connsiteY37" fmla="*/ 2652 h 82296"/>
                  <a:gd name="connsiteX38" fmla="*/ 62545 w 64008"/>
                  <a:gd name="connsiteY38" fmla="*/ 9693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4008" h="82296">
                    <a:moveTo>
                      <a:pt x="62545" y="9693"/>
                    </a:moveTo>
                    <a:lnTo>
                      <a:pt x="55047" y="22860"/>
                    </a:lnTo>
                    <a:cubicBezTo>
                      <a:pt x="51481" y="20300"/>
                      <a:pt x="47914" y="18471"/>
                      <a:pt x="44257" y="17191"/>
                    </a:cubicBezTo>
                    <a:cubicBezTo>
                      <a:pt x="40599" y="16002"/>
                      <a:pt x="36667" y="15362"/>
                      <a:pt x="32553" y="15362"/>
                    </a:cubicBezTo>
                    <a:cubicBezTo>
                      <a:pt x="28346" y="15362"/>
                      <a:pt x="25329" y="16093"/>
                      <a:pt x="23409" y="17556"/>
                    </a:cubicBezTo>
                    <a:cubicBezTo>
                      <a:pt x="21488" y="19020"/>
                      <a:pt x="20574" y="20940"/>
                      <a:pt x="20574" y="23226"/>
                    </a:cubicBezTo>
                    <a:cubicBezTo>
                      <a:pt x="20574" y="24323"/>
                      <a:pt x="20848" y="25329"/>
                      <a:pt x="21305" y="26335"/>
                    </a:cubicBezTo>
                    <a:cubicBezTo>
                      <a:pt x="21763" y="27341"/>
                      <a:pt x="22586" y="28255"/>
                      <a:pt x="23774" y="29261"/>
                    </a:cubicBezTo>
                    <a:cubicBezTo>
                      <a:pt x="24963" y="30175"/>
                      <a:pt x="26609" y="31272"/>
                      <a:pt x="28712" y="32370"/>
                    </a:cubicBezTo>
                    <a:cubicBezTo>
                      <a:pt x="30815" y="33467"/>
                      <a:pt x="33467" y="34656"/>
                      <a:pt x="36759" y="35936"/>
                    </a:cubicBezTo>
                    <a:cubicBezTo>
                      <a:pt x="41605" y="37856"/>
                      <a:pt x="45903" y="39685"/>
                      <a:pt x="49469" y="41331"/>
                    </a:cubicBezTo>
                    <a:cubicBezTo>
                      <a:pt x="53127" y="43068"/>
                      <a:pt x="56144" y="44988"/>
                      <a:pt x="58613" y="47092"/>
                    </a:cubicBezTo>
                    <a:cubicBezTo>
                      <a:pt x="61082" y="49195"/>
                      <a:pt x="62911" y="51755"/>
                      <a:pt x="64191" y="54590"/>
                    </a:cubicBezTo>
                    <a:cubicBezTo>
                      <a:pt x="65471" y="57424"/>
                      <a:pt x="66111" y="60899"/>
                      <a:pt x="66111" y="65014"/>
                    </a:cubicBezTo>
                    <a:cubicBezTo>
                      <a:pt x="66111" y="69769"/>
                      <a:pt x="65197" y="73884"/>
                      <a:pt x="63368" y="77175"/>
                    </a:cubicBezTo>
                    <a:cubicBezTo>
                      <a:pt x="61539" y="80467"/>
                      <a:pt x="59162" y="83119"/>
                      <a:pt x="56144" y="85131"/>
                    </a:cubicBezTo>
                    <a:cubicBezTo>
                      <a:pt x="53127" y="87142"/>
                      <a:pt x="49652" y="88605"/>
                      <a:pt x="45720" y="89428"/>
                    </a:cubicBezTo>
                    <a:cubicBezTo>
                      <a:pt x="41788" y="90251"/>
                      <a:pt x="37673" y="90708"/>
                      <a:pt x="33376" y="90708"/>
                    </a:cubicBezTo>
                    <a:cubicBezTo>
                      <a:pt x="27889" y="90708"/>
                      <a:pt x="22037" y="89703"/>
                      <a:pt x="16002" y="87691"/>
                    </a:cubicBezTo>
                    <a:cubicBezTo>
                      <a:pt x="9875" y="85679"/>
                      <a:pt x="4572" y="82936"/>
                      <a:pt x="0" y="79553"/>
                    </a:cubicBezTo>
                    <a:lnTo>
                      <a:pt x="7772" y="66660"/>
                    </a:lnTo>
                    <a:cubicBezTo>
                      <a:pt x="11887" y="69494"/>
                      <a:pt x="16093" y="71598"/>
                      <a:pt x="20482" y="73061"/>
                    </a:cubicBezTo>
                    <a:cubicBezTo>
                      <a:pt x="24872" y="74524"/>
                      <a:pt x="29078" y="75255"/>
                      <a:pt x="33193" y="75255"/>
                    </a:cubicBezTo>
                    <a:cubicBezTo>
                      <a:pt x="38588" y="75255"/>
                      <a:pt x="42611" y="74432"/>
                      <a:pt x="45171" y="72786"/>
                    </a:cubicBezTo>
                    <a:cubicBezTo>
                      <a:pt x="47732" y="71140"/>
                      <a:pt x="49103" y="68763"/>
                      <a:pt x="49103" y="65654"/>
                    </a:cubicBezTo>
                    <a:cubicBezTo>
                      <a:pt x="49103" y="64008"/>
                      <a:pt x="48646" y="62545"/>
                      <a:pt x="47732" y="61265"/>
                    </a:cubicBezTo>
                    <a:cubicBezTo>
                      <a:pt x="46817" y="59985"/>
                      <a:pt x="45446" y="58796"/>
                      <a:pt x="43708" y="57699"/>
                    </a:cubicBezTo>
                    <a:cubicBezTo>
                      <a:pt x="41971" y="56601"/>
                      <a:pt x="39868" y="55504"/>
                      <a:pt x="37307" y="54498"/>
                    </a:cubicBezTo>
                    <a:cubicBezTo>
                      <a:pt x="34839" y="53401"/>
                      <a:pt x="32004" y="52304"/>
                      <a:pt x="28895" y="51115"/>
                    </a:cubicBezTo>
                    <a:cubicBezTo>
                      <a:pt x="24232" y="49286"/>
                      <a:pt x="20208" y="47457"/>
                      <a:pt x="16916" y="45720"/>
                    </a:cubicBezTo>
                    <a:cubicBezTo>
                      <a:pt x="13624" y="43983"/>
                      <a:pt x="10973" y="41971"/>
                      <a:pt x="8961" y="39868"/>
                    </a:cubicBezTo>
                    <a:cubicBezTo>
                      <a:pt x="6949" y="37765"/>
                      <a:pt x="5486" y="35387"/>
                      <a:pt x="4572" y="32827"/>
                    </a:cubicBezTo>
                    <a:cubicBezTo>
                      <a:pt x="3658" y="30267"/>
                      <a:pt x="3200" y="27249"/>
                      <a:pt x="3200" y="23774"/>
                    </a:cubicBezTo>
                    <a:cubicBezTo>
                      <a:pt x="3200" y="19934"/>
                      <a:pt x="3932" y="16459"/>
                      <a:pt x="5395" y="13442"/>
                    </a:cubicBezTo>
                    <a:cubicBezTo>
                      <a:pt x="6858" y="10424"/>
                      <a:pt x="8870" y="8047"/>
                      <a:pt x="11521" y="6035"/>
                    </a:cubicBezTo>
                    <a:cubicBezTo>
                      <a:pt x="14173" y="4023"/>
                      <a:pt x="17282" y="2560"/>
                      <a:pt x="20940" y="1554"/>
                    </a:cubicBezTo>
                    <a:cubicBezTo>
                      <a:pt x="24597" y="549"/>
                      <a:pt x="28529" y="0"/>
                      <a:pt x="32918" y="0"/>
                    </a:cubicBezTo>
                    <a:cubicBezTo>
                      <a:pt x="38405" y="0"/>
                      <a:pt x="43708" y="914"/>
                      <a:pt x="48829" y="2652"/>
                    </a:cubicBezTo>
                    <a:cubicBezTo>
                      <a:pt x="54132" y="4572"/>
                      <a:pt x="58613" y="6858"/>
                      <a:pt x="62545" y="9693"/>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67" name="Freeform: Shape 366">
                <a:extLst>
                  <a:ext uri="{FF2B5EF4-FFF2-40B4-BE49-F238E27FC236}">
                    <a16:creationId xmlns:a16="http://schemas.microsoft.com/office/drawing/2014/main" id="{E21831E9-8323-4326-8754-6C4E294729D3}"/>
                  </a:ext>
                </a:extLst>
              </p:cNvPr>
              <p:cNvSpPr/>
              <p:nvPr/>
            </p:nvSpPr>
            <p:spPr>
              <a:xfrm>
                <a:off x="2594828" y="6314938"/>
                <a:ext cx="18288" cy="18288"/>
              </a:xfrm>
              <a:custGeom>
                <a:avLst/>
                <a:gdLst>
                  <a:gd name="connsiteX0" fmla="*/ 26060 w 18288"/>
                  <a:gd name="connsiteY0" fmla="*/ 13259 h 18288"/>
                  <a:gd name="connsiteX1" fmla="*/ 25055 w 18288"/>
                  <a:gd name="connsiteY1" fmla="*/ 18379 h 18288"/>
                  <a:gd name="connsiteX2" fmla="*/ 22311 w 18288"/>
                  <a:gd name="connsiteY2" fmla="*/ 22586 h 18288"/>
                  <a:gd name="connsiteX3" fmla="*/ 18105 w 18288"/>
                  <a:gd name="connsiteY3" fmla="*/ 25420 h 18288"/>
                  <a:gd name="connsiteX4" fmla="*/ 12984 w 18288"/>
                  <a:gd name="connsiteY4" fmla="*/ 26426 h 18288"/>
                  <a:gd name="connsiteX5" fmla="*/ 7864 w 18288"/>
                  <a:gd name="connsiteY5" fmla="*/ 25420 h 18288"/>
                  <a:gd name="connsiteX6" fmla="*/ 3749 w 18288"/>
                  <a:gd name="connsiteY6" fmla="*/ 22586 h 18288"/>
                  <a:gd name="connsiteX7" fmla="*/ 1006 w 18288"/>
                  <a:gd name="connsiteY7" fmla="*/ 18379 h 18288"/>
                  <a:gd name="connsiteX8" fmla="*/ 0 w 18288"/>
                  <a:gd name="connsiteY8" fmla="*/ 13259 h 18288"/>
                  <a:gd name="connsiteX9" fmla="*/ 1006 w 18288"/>
                  <a:gd name="connsiteY9" fmla="*/ 8138 h 18288"/>
                  <a:gd name="connsiteX10" fmla="*/ 3749 w 18288"/>
                  <a:gd name="connsiteY10" fmla="*/ 3932 h 18288"/>
                  <a:gd name="connsiteX11" fmla="*/ 7864 w 18288"/>
                  <a:gd name="connsiteY11" fmla="*/ 1006 h 18288"/>
                  <a:gd name="connsiteX12" fmla="*/ 12984 w 18288"/>
                  <a:gd name="connsiteY12" fmla="*/ 0 h 18288"/>
                  <a:gd name="connsiteX13" fmla="*/ 18105 w 18288"/>
                  <a:gd name="connsiteY13" fmla="*/ 1006 h 18288"/>
                  <a:gd name="connsiteX14" fmla="*/ 22311 w 18288"/>
                  <a:gd name="connsiteY14" fmla="*/ 3932 h 18288"/>
                  <a:gd name="connsiteX15" fmla="*/ 25055 w 18288"/>
                  <a:gd name="connsiteY15" fmla="*/ 8138 h 18288"/>
                  <a:gd name="connsiteX16" fmla="*/ 26060 w 18288"/>
                  <a:gd name="connsiteY16" fmla="*/ 13259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288" h="18288">
                    <a:moveTo>
                      <a:pt x="26060" y="13259"/>
                    </a:moveTo>
                    <a:cubicBezTo>
                      <a:pt x="26060" y="15088"/>
                      <a:pt x="25695" y="16825"/>
                      <a:pt x="25055" y="18379"/>
                    </a:cubicBezTo>
                    <a:cubicBezTo>
                      <a:pt x="24414" y="19934"/>
                      <a:pt x="23409" y="21397"/>
                      <a:pt x="22311" y="22586"/>
                    </a:cubicBezTo>
                    <a:cubicBezTo>
                      <a:pt x="21123" y="23774"/>
                      <a:pt x="19751" y="24689"/>
                      <a:pt x="18105" y="25420"/>
                    </a:cubicBezTo>
                    <a:cubicBezTo>
                      <a:pt x="16551" y="26060"/>
                      <a:pt x="14813" y="26426"/>
                      <a:pt x="12984" y="26426"/>
                    </a:cubicBezTo>
                    <a:cubicBezTo>
                      <a:pt x="11156" y="26426"/>
                      <a:pt x="9418" y="26060"/>
                      <a:pt x="7864" y="25420"/>
                    </a:cubicBezTo>
                    <a:cubicBezTo>
                      <a:pt x="6218" y="24780"/>
                      <a:pt x="4846" y="23774"/>
                      <a:pt x="3749" y="22586"/>
                    </a:cubicBezTo>
                    <a:cubicBezTo>
                      <a:pt x="2560" y="21397"/>
                      <a:pt x="1646" y="20025"/>
                      <a:pt x="1006" y="18379"/>
                    </a:cubicBezTo>
                    <a:cubicBezTo>
                      <a:pt x="366" y="16825"/>
                      <a:pt x="0" y="15088"/>
                      <a:pt x="0" y="13259"/>
                    </a:cubicBezTo>
                    <a:cubicBezTo>
                      <a:pt x="0" y="11430"/>
                      <a:pt x="366" y="9693"/>
                      <a:pt x="1006" y="8138"/>
                    </a:cubicBezTo>
                    <a:cubicBezTo>
                      <a:pt x="1646" y="6584"/>
                      <a:pt x="2560" y="5121"/>
                      <a:pt x="3749" y="3932"/>
                    </a:cubicBezTo>
                    <a:cubicBezTo>
                      <a:pt x="4938" y="2743"/>
                      <a:pt x="6309" y="1737"/>
                      <a:pt x="7864" y="1006"/>
                    </a:cubicBezTo>
                    <a:cubicBezTo>
                      <a:pt x="9418" y="274"/>
                      <a:pt x="11156" y="0"/>
                      <a:pt x="12984" y="0"/>
                    </a:cubicBezTo>
                    <a:cubicBezTo>
                      <a:pt x="14813" y="0"/>
                      <a:pt x="16551" y="366"/>
                      <a:pt x="18105" y="1006"/>
                    </a:cubicBezTo>
                    <a:cubicBezTo>
                      <a:pt x="19660" y="1737"/>
                      <a:pt x="21123" y="2652"/>
                      <a:pt x="22311" y="3932"/>
                    </a:cubicBezTo>
                    <a:cubicBezTo>
                      <a:pt x="23500" y="5121"/>
                      <a:pt x="24414" y="6584"/>
                      <a:pt x="25055" y="8138"/>
                    </a:cubicBezTo>
                    <a:cubicBezTo>
                      <a:pt x="25695" y="9784"/>
                      <a:pt x="26060" y="11430"/>
                      <a:pt x="26060" y="13259"/>
                    </a:cubicBezTo>
                  </a:path>
                </a:pathLst>
              </a:custGeom>
              <a:grpFill/>
              <a:ln w="912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grpSp>
      <p:sp>
        <p:nvSpPr>
          <p:cNvPr id="342" name="Rectangle 341">
            <a:extLst>
              <a:ext uri="{FF2B5EF4-FFF2-40B4-BE49-F238E27FC236}">
                <a16:creationId xmlns:a16="http://schemas.microsoft.com/office/drawing/2014/main" id="{BFBC66B5-2475-4F1B-8CD3-426699968443}"/>
              </a:ext>
            </a:extLst>
          </p:cNvPr>
          <p:cNvSpPr/>
          <p:nvPr userDrawn="1"/>
        </p:nvSpPr>
        <p:spPr>
          <a:xfrm>
            <a:off x="5312159" y="2843212"/>
            <a:ext cx="155367" cy="1046351"/>
          </a:xfrm>
          <a:custGeom>
            <a:avLst/>
            <a:gdLst>
              <a:gd name="connsiteX0" fmla="*/ 0 w 155367"/>
              <a:gd name="connsiteY0" fmla="*/ 0 h 946339"/>
              <a:gd name="connsiteX1" fmla="*/ 155367 w 155367"/>
              <a:gd name="connsiteY1" fmla="*/ 0 h 946339"/>
              <a:gd name="connsiteX2" fmla="*/ 155367 w 155367"/>
              <a:gd name="connsiteY2" fmla="*/ 946339 h 946339"/>
              <a:gd name="connsiteX3" fmla="*/ 0 w 155367"/>
              <a:gd name="connsiteY3" fmla="*/ 946339 h 946339"/>
              <a:gd name="connsiteX4" fmla="*/ 0 w 155367"/>
              <a:gd name="connsiteY4" fmla="*/ 0 h 946339"/>
              <a:gd name="connsiteX0" fmla="*/ 0 w 155367"/>
              <a:gd name="connsiteY0" fmla="*/ 100012 h 1046351"/>
              <a:gd name="connsiteX1" fmla="*/ 155367 w 155367"/>
              <a:gd name="connsiteY1" fmla="*/ 0 h 1046351"/>
              <a:gd name="connsiteX2" fmla="*/ 155367 w 155367"/>
              <a:gd name="connsiteY2" fmla="*/ 1046351 h 1046351"/>
              <a:gd name="connsiteX3" fmla="*/ 0 w 155367"/>
              <a:gd name="connsiteY3" fmla="*/ 1046351 h 1046351"/>
              <a:gd name="connsiteX4" fmla="*/ 0 w 155367"/>
              <a:gd name="connsiteY4" fmla="*/ 100012 h 1046351"/>
              <a:gd name="connsiteX0" fmla="*/ 0 w 155367"/>
              <a:gd name="connsiteY0" fmla="*/ 104774 h 1046351"/>
              <a:gd name="connsiteX1" fmla="*/ 155367 w 155367"/>
              <a:gd name="connsiteY1" fmla="*/ 0 h 1046351"/>
              <a:gd name="connsiteX2" fmla="*/ 155367 w 155367"/>
              <a:gd name="connsiteY2" fmla="*/ 1046351 h 1046351"/>
              <a:gd name="connsiteX3" fmla="*/ 0 w 155367"/>
              <a:gd name="connsiteY3" fmla="*/ 1046351 h 1046351"/>
              <a:gd name="connsiteX4" fmla="*/ 0 w 155367"/>
              <a:gd name="connsiteY4" fmla="*/ 104774 h 1046351"/>
              <a:gd name="connsiteX0" fmla="*/ 0 w 155367"/>
              <a:gd name="connsiteY0" fmla="*/ 104774 h 1046351"/>
              <a:gd name="connsiteX1" fmla="*/ 95660 w 155367"/>
              <a:gd name="connsiteY1" fmla="*/ 40482 h 1046351"/>
              <a:gd name="connsiteX2" fmla="*/ 155367 w 155367"/>
              <a:gd name="connsiteY2" fmla="*/ 0 h 1046351"/>
              <a:gd name="connsiteX3" fmla="*/ 155367 w 155367"/>
              <a:gd name="connsiteY3" fmla="*/ 1046351 h 1046351"/>
              <a:gd name="connsiteX4" fmla="*/ 0 w 155367"/>
              <a:gd name="connsiteY4" fmla="*/ 1046351 h 1046351"/>
              <a:gd name="connsiteX5" fmla="*/ 0 w 155367"/>
              <a:gd name="connsiteY5" fmla="*/ 104774 h 1046351"/>
              <a:gd name="connsiteX0" fmla="*/ 0 w 155367"/>
              <a:gd name="connsiteY0" fmla="*/ 104774 h 1046351"/>
              <a:gd name="connsiteX1" fmla="*/ 38510 w 155367"/>
              <a:gd name="connsiteY1" fmla="*/ 80963 h 1046351"/>
              <a:gd name="connsiteX2" fmla="*/ 95660 w 155367"/>
              <a:gd name="connsiteY2" fmla="*/ 40482 h 1046351"/>
              <a:gd name="connsiteX3" fmla="*/ 155367 w 155367"/>
              <a:gd name="connsiteY3" fmla="*/ 0 h 1046351"/>
              <a:gd name="connsiteX4" fmla="*/ 155367 w 155367"/>
              <a:gd name="connsiteY4" fmla="*/ 1046351 h 1046351"/>
              <a:gd name="connsiteX5" fmla="*/ 0 w 155367"/>
              <a:gd name="connsiteY5" fmla="*/ 1046351 h 1046351"/>
              <a:gd name="connsiteX6" fmla="*/ 0 w 155367"/>
              <a:gd name="connsiteY6" fmla="*/ 104774 h 1046351"/>
              <a:gd name="connsiteX0" fmla="*/ 0 w 155367"/>
              <a:gd name="connsiteY0" fmla="*/ 104774 h 1046351"/>
              <a:gd name="connsiteX1" fmla="*/ 38510 w 155367"/>
              <a:gd name="connsiteY1" fmla="*/ 80963 h 1046351"/>
              <a:gd name="connsiteX2" fmla="*/ 95660 w 155367"/>
              <a:gd name="connsiteY2" fmla="*/ 40482 h 1046351"/>
              <a:gd name="connsiteX3" fmla="*/ 121854 w 155367"/>
              <a:gd name="connsiteY3" fmla="*/ 23813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38510 w 155367"/>
              <a:gd name="connsiteY1" fmla="*/ 80963 h 1046351"/>
              <a:gd name="connsiteX2" fmla="*/ 95660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5654 w 155367"/>
              <a:gd name="connsiteY1" fmla="*/ 90488 h 1046351"/>
              <a:gd name="connsiteX2" fmla="*/ 95660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5654 w 155367"/>
              <a:gd name="connsiteY1" fmla="*/ 90488 h 1046351"/>
              <a:gd name="connsiteX2" fmla="*/ 88517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8035 w 155367"/>
              <a:gd name="connsiteY1" fmla="*/ 88106 h 1046351"/>
              <a:gd name="connsiteX2" fmla="*/ 88517 w 155367"/>
              <a:gd name="connsiteY2" fmla="*/ 40482 h 1046351"/>
              <a:gd name="connsiteX3" fmla="*/ 117091 w 155367"/>
              <a:gd name="connsiteY3" fmla="*/ 19050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8035 w 155367"/>
              <a:gd name="connsiteY1" fmla="*/ 88106 h 1046351"/>
              <a:gd name="connsiteX2" fmla="*/ 88517 w 155367"/>
              <a:gd name="connsiteY2" fmla="*/ 40482 h 1046351"/>
              <a:gd name="connsiteX3" fmla="*/ 114710 w 155367"/>
              <a:gd name="connsiteY3" fmla="*/ 21432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48035 w 155367"/>
              <a:gd name="connsiteY1" fmla="*/ 88106 h 1046351"/>
              <a:gd name="connsiteX2" fmla="*/ 88517 w 155367"/>
              <a:gd name="connsiteY2" fmla="*/ 40482 h 1046351"/>
              <a:gd name="connsiteX3" fmla="*/ 114710 w 155367"/>
              <a:gd name="connsiteY3" fmla="*/ 14288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55178 w 155367"/>
              <a:gd name="connsiteY1" fmla="*/ 88106 h 1046351"/>
              <a:gd name="connsiteX2" fmla="*/ 88517 w 155367"/>
              <a:gd name="connsiteY2" fmla="*/ 40482 h 1046351"/>
              <a:gd name="connsiteX3" fmla="*/ 114710 w 155367"/>
              <a:gd name="connsiteY3" fmla="*/ 14288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 name="connsiteX0" fmla="*/ 0 w 155367"/>
              <a:gd name="connsiteY0" fmla="*/ 104774 h 1046351"/>
              <a:gd name="connsiteX1" fmla="*/ 57559 w 155367"/>
              <a:gd name="connsiteY1" fmla="*/ 83343 h 1046351"/>
              <a:gd name="connsiteX2" fmla="*/ 88517 w 155367"/>
              <a:gd name="connsiteY2" fmla="*/ 40482 h 1046351"/>
              <a:gd name="connsiteX3" fmla="*/ 114710 w 155367"/>
              <a:gd name="connsiteY3" fmla="*/ 14288 h 1046351"/>
              <a:gd name="connsiteX4" fmla="*/ 155367 w 155367"/>
              <a:gd name="connsiteY4" fmla="*/ 0 h 1046351"/>
              <a:gd name="connsiteX5" fmla="*/ 155367 w 155367"/>
              <a:gd name="connsiteY5" fmla="*/ 1046351 h 1046351"/>
              <a:gd name="connsiteX6" fmla="*/ 0 w 155367"/>
              <a:gd name="connsiteY6" fmla="*/ 1046351 h 1046351"/>
              <a:gd name="connsiteX7" fmla="*/ 0 w 155367"/>
              <a:gd name="connsiteY7" fmla="*/ 104774 h 104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367" h="1046351">
                <a:moveTo>
                  <a:pt x="0" y="104774"/>
                </a:moveTo>
                <a:lnTo>
                  <a:pt x="57559" y="83343"/>
                </a:lnTo>
                <a:lnTo>
                  <a:pt x="88517" y="40482"/>
                </a:lnTo>
                <a:lnTo>
                  <a:pt x="114710" y="14288"/>
                </a:lnTo>
                <a:lnTo>
                  <a:pt x="155367" y="0"/>
                </a:lnTo>
                <a:lnTo>
                  <a:pt x="155367" y="1046351"/>
                </a:lnTo>
                <a:lnTo>
                  <a:pt x="0" y="1046351"/>
                </a:lnTo>
                <a:lnTo>
                  <a:pt x="0" y="104774"/>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6" name="Rectangle 115">
            <a:extLst>
              <a:ext uri="{FF2B5EF4-FFF2-40B4-BE49-F238E27FC236}">
                <a16:creationId xmlns:a16="http://schemas.microsoft.com/office/drawing/2014/main" id="{EDCBC18F-25AD-490C-ACA1-AE6712824015}"/>
              </a:ext>
            </a:extLst>
          </p:cNvPr>
          <p:cNvSpPr/>
          <p:nvPr userDrawn="1"/>
        </p:nvSpPr>
        <p:spPr>
          <a:xfrm>
            <a:off x="5312159" y="460564"/>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119503959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72">
          <p15:clr>
            <a:srgbClr val="5ACBF0"/>
          </p15:clr>
        </p15:guide>
        <p15:guide id="8" orient="horz" pos="399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with &quot;click to add&quot; 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EF8DF3-460A-4061-A4E9-FBD2A9BA6EE7}"/>
              </a:ext>
            </a:extLst>
          </p:cNvPr>
          <p:cNvGraphicFramePr>
            <a:graphicFrameLocks noChangeAspect="1"/>
          </p:cNvGraphicFramePr>
          <p:nvPr userDrawn="1">
            <p:custDataLst>
              <p:tags r:id="rId1"/>
            </p:custDataLst>
            <p:extLst>
              <p:ext uri="{D42A27DB-BD31-4B8C-83A1-F6EECF244321}">
                <p14:modId xmlns:p14="http://schemas.microsoft.com/office/powerpoint/2010/main" val="235708000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E7EF8DF3-460A-4061-A4E9-FBD2A9BA6EE7}"/>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82C25ECC-5668-4E03-9F81-49A427830593}"/>
              </a:ext>
            </a:extLst>
          </p:cNvPr>
          <p:cNvSpPr>
            <a:spLocks noGrp="1"/>
          </p:cNvSpPr>
          <p:nvPr>
            <p:ph type="body" sz="quarter" idx="10" hasCustomPrompt="1"/>
          </p:nvPr>
        </p:nvSpPr>
        <p:spPr>
          <a:xfrm>
            <a:off x="1473627" y="2029061"/>
            <a:ext cx="10105918" cy="4143139"/>
          </a:xfrm>
        </p:spPr>
        <p:txBody>
          <a:bodyPr vert="horz" lIns="0" tIns="0" rIns="0" bIns="0" rtlCol="0" anchor="t" anchorCtr="0">
            <a:noAutofit/>
          </a:bodyPr>
          <a:lstStyle>
            <a:lvl1pPr marL="268288" indent="-268288">
              <a:defRPr lang="en-US" sz="1800" dirty="0">
                <a:latin typeface="EYInterstate Light" panose="02000506000000020004" pitchFamily="2" charset="0"/>
                <a:cs typeface="Arial" panose="020B0604020202020204" pitchFamily="34" charset="0"/>
                <a:sym typeface="EYInterstate Light" panose="02000506000000020004" pitchFamily="2" charset="0"/>
              </a:defRPr>
            </a:lvl1pPr>
            <a:lvl2pPr marL="534988" indent="-266700">
              <a:defRPr lang="en-US" sz="1800" dirty="0">
                <a:latin typeface="EYInterstate Light" panose="02000506000000020004" pitchFamily="2" charset="0"/>
                <a:cs typeface="Arial" panose="020B0604020202020204" pitchFamily="34" charset="0"/>
                <a:sym typeface="EYInterstate Light" panose="02000506000000020004" pitchFamily="2" charset="0"/>
              </a:defRPr>
            </a:lvl2pPr>
          </a:lstStyle>
          <a:p>
            <a:pPr lvl="0"/>
            <a:r>
              <a:rPr lang="en-US" dirty="0"/>
              <a:t>Click to add agenda</a:t>
            </a:r>
          </a:p>
          <a:p>
            <a:pPr lvl="1"/>
            <a:r>
              <a:rPr lang="en-US" dirty="0"/>
              <a:t>Sub-item (use “Increase List Level” button)</a:t>
            </a:r>
          </a:p>
        </p:txBody>
      </p:sp>
      <p:sp>
        <p:nvSpPr>
          <p:cNvPr id="23" name="Rectangle 22">
            <a:extLst>
              <a:ext uri="{FF2B5EF4-FFF2-40B4-BE49-F238E27FC236}">
                <a16:creationId xmlns:a16="http://schemas.microsoft.com/office/drawing/2014/main" id="{DD4F8ACF-49FE-4519-ABC6-5BCAE089F2B1}"/>
              </a:ext>
            </a:extLst>
          </p:cNvPr>
          <p:cNvSpPr/>
          <p:nvPr userDrawn="1"/>
        </p:nvSpPr>
        <p:spPr>
          <a:xfrm rot="10800000">
            <a:off x="612648"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Rectangle 23">
            <a:extLst>
              <a:ext uri="{FF2B5EF4-FFF2-40B4-BE49-F238E27FC236}">
                <a16:creationId xmlns:a16="http://schemas.microsoft.com/office/drawing/2014/main" id="{971FD123-4574-479D-9EDF-281D6435E778}"/>
              </a:ext>
            </a:extLst>
          </p:cNvPr>
          <p:cNvSpPr/>
          <p:nvPr userDrawn="1"/>
        </p:nvSpPr>
        <p:spPr>
          <a:xfrm rot="10800000">
            <a:off x="2657051"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TextBox 24">
            <a:extLst>
              <a:ext uri="{FF2B5EF4-FFF2-40B4-BE49-F238E27FC236}">
                <a16:creationId xmlns:a16="http://schemas.microsoft.com/office/drawing/2014/main" id="{782A3A59-45AA-4610-8ADE-4BFEB94901D3}"/>
              </a:ext>
            </a:extLst>
          </p:cNvPr>
          <p:cNvSpPr txBox="1"/>
          <p:nvPr userDrawn="1"/>
        </p:nvSpPr>
        <p:spPr>
          <a:xfrm>
            <a:off x="711411" y="1172310"/>
            <a:ext cx="1917662" cy="646331"/>
          </a:xfrm>
          <a:prstGeom prst="rect">
            <a:avLst/>
          </a:prstGeom>
          <a:noFill/>
        </p:spPr>
        <p:txBody>
          <a:bodyPr wrap="square" rtlCol="0">
            <a:spAutoFit/>
          </a:bodyPr>
          <a:lstStyle/>
          <a:p>
            <a:pPr algn="ctr" eaLnBrk="0" fontAlgn="base" hangingPunct="0">
              <a:spcBef>
                <a:spcPct val="0"/>
              </a:spcBef>
              <a:spcAft>
                <a:spcPct val="0"/>
              </a:spcAft>
            </a:pPr>
            <a:r>
              <a:rPr lang="en-US" sz="3600" b="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Agenda</a:t>
            </a:r>
          </a:p>
        </p:txBody>
      </p:sp>
    </p:spTree>
    <p:extLst>
      <p:ext uri="{BB962C8B-B14F-4D97-AF65-F5344CB8AC3E}">
        <p14:creationId xmlns:p14="http://schemas.microsoft.com/office/powerpoint/2010/main" val="25254414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Agenda with &quot;click to add&quot; box with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EF8DF3-460A-4061-A4E9-FBD2A9BA6EE7}"/>
              </a:ext>
            </a:extLst>
          </p:cNvPr>
          <p:cNvGraphicFramePr>
            <a:graphicFrameLocks noChangeAspect="1"/>
          </p:cNvGraphicFramePr>
          <p:nvPr userDrawn="1">
            <p:custDataLst>
              <p:tags r:id="rId1"/>
            </p:custDataLst>
            <p:extLst>
              <p:ext uri="{D42A27DB-BD31-4B8C-83A1-F6EECF244321}">
                <p14:modId xmlns:p14="http://schemas.microsoft.com/office/powerpoint/2010/main" val="40099897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E7EF8DF3-460A-4061-A4E9-FBD2A9BA6EE7}"/>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C8FE7019-159C-45E2-A28E-4A7A590C6ECA}"/>
              </a:ext>
            </a:extLst>
          </p:cNvPr>
          <p:cNvSpPr>
            <a:spLocks noGrp="1"/>
          </p:cNvSpPr>
          <p:nvPr>
            <p:ph type="pic" sz="quarter" idx="11"/>
          </p:nvPr>
        </p:nvSpPr>
        <p:spPr>
          <a:xfrm>
            <a:off x="8194852" y="1"/>
            <a:ext cx="3997149" cy="6857999"/>
          </a:xfrm>
        </p:spPr>
        <p:txBody>
          <a:bodyPr/>
          <a:lstStyle/>
          <a:p>
            <a:endParaRPr lang="en-IN" dirty="0"/>
          </a:p>
        </p:txBody>
      </p:sp>
      <p:sp>
        <p:nvSpPr>
          <p:cNvPr id="21" name="Text Placeholder 20">
            <a:extLst>
              <a:ext uri="{FF2B5EF4-FFF2-40B4-BE49-F238E27FC236}">
                <a16:creationId xmlns:a16="http://schemas.microsoft.com/office/drawing/2014/main" id="{82C25ECC-5668-4E03-9F81-49A427830593}"/>
              </a:ext>
            </a:extLst>
          </p:cNvPr>
          <p:cNvSpPr>
            <a:spLocks noGrp="1"/>
          </p:cNvSpPr>
          <p:nvPr>
            <p:ph type="body" sz="quarter" idx="10" hasCustomPrompt="1"/>
          </p:nvPr>
        </p:nvSpPr>
        <p:spPr>
          <a:xfrm>
            <a:off x="1473627" y="2029061"/>
            <a:ext cx="6387673" cy="4143139"/>
          </a:xfrm>
        </p:spPr>
        <p:txBody>
          <a:bodyPr vert="horz" lIns="0" tIns="0" rIns="0" bIns="0" rtlCol="0" anchor="t" anchorCtr="0">
            <a:noAutofit/>
          </a:bodyPr>
          <a:lstStyle>
            <a:lvl1pPr marL="268288" indent="-268288">
              <a:defRPr lang="en-US" sz="1800" dirty="0">
                <a:latin typeface="EYInterstate Light" panose="02000506000000020004" pitchFamily="2" charset="0"/>
                <a:cs typeface="Arial" panose="020B0604020202020204" pitchFamily="34" charset="0"/>
                <a:sym typeface="EYInterstate Light" panose="02000506000000020004" pitchFamily="2" charset="0"/>
              </a:defRPr>
            </a:lvl1pPr>
            <a:lvl2pPr marL="534988" indent="-266700">
              <a:defRPr lang="en-US" sz="1800" dirty="0">
                <a:latin typeface="EYInterstate Light" panose="02000506000000020004" pitchFamily="2" charset="0"/>
                <a:cs typeface="Arial" panose="020B0604020202020204" pitchFamily="34" charset="0"/>
                <a:sym typeface="EYInterstate Light" panose="02000506000000020004" pitchFamily="2" charset="0"/>
              </a:defRPr>
            </a:lvl2pPr>
          </a:lstStyle>
          <a:p>
            <a:pPr lvl="0"/>
            <a:r>
              <a:rPr lang="en-US" dirty="0"/>
              <a:t>Click to add agenda</a:t>
            </a:r>
          </a:p>
          <a:p>
            <a:pPr lvl="1"/>
            <a:r>
              <a:rPr lang="en-US" dirty="0"/>
              <a:t>Sub-item (use “Increase List Level” button)</a:t>
            </a:r>
          </a:p>
        </p:txBody>
      </p:sp>
      <p:sp>
        <p:nvSpPr>
          <p:cNvPr id="23" name="Rectangle 22">
            <a:extLst>
              <a:ext uri="{FF2B5EF4-FFF2-40B4-BE49-F238E27FC236}">
                <a16:creationId xmlns:a16="http://schemas.microsoft.com/office/drawing/2014/main" id="{DD4F8ACF-49FE-4519-ABC6-5BCAE089F2B1}"/>
              </a:ext>
            </a:extLst>
          </p:cNvPr>
          <p:cNvSpPr/>
          <p:nvPr userDrawn="1"/>
        </p:nvSpPr>
        <p:spPr>
          <a:xfrm rot="10800000">
            <a:off x="612648"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Rectangle 23">
            <a:extLst>
              <a:ext uri="{FF2B5EF4-FFF2-40B4-BE49-F238E27FC236}">
                <a16:creationId xmlns:a16="http://schemas.microsoft.com/office/drawing/2014/main" id="{971FD123-4574-479D-9EDF-281D6435E778}"/>
              </a:ext>
            </a:extLst>
          </p:cNvPr>
          <p:cNvSpPr/>
          <p:nvPr userDrawn="1"/>
        </p:nvSpPr>
        <p:spPr>
          <a:xfrm rot="10800000">
            <a:off x="2657051"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TextBox 24">
            <a:extLst>
              <a:ext uri="{FF2B5EF4-FFF2-40B4-BE49-F238E27FC236}">
                <a16:creationId xmlns:a16="http://schemas.microsoft.com/office/drawing/2014/main" id="{782A3A59-45AA-4610-8ADE-4BFEB94901D3}"/>
              </a:ext>
            </a:extLst>
          </p:cNvPr>
          <p:cNvSpPr txBox="1"/>
          <p:nvPr userDrawn="1"/>
        </p:nvSpPr>
        <p:spPr>
          <a:xfrm>
            <a:off x="711411" y="1172310"/>
            <a:ext cx="1917662" cy="646331"/>
          </a:xfrm>
          <a:prstGeom prst="rect">
            <a:avLst/>
          </a:prstGeom>
          <a:noFill/>
        </p:spPr>
        <p:txBody>
          <a:bodyPr wrap="square" rtlCol="0">
            <a:spAutoFit/>
          </a:bodyPr>
          <a:lstStyle/>
          <a:p>
            <a:pPr algn="ctr" eaLnBrk="0" fontAlgn="base" hangingPunct="0">
              <a:spcBef>
                <a:spcPct val="0"/>
              </a:spcBef>
              <a:spcAft>
                <a:spcPct val="0"/>
              </a:spcAft>
            </a:pPr>
            <a:r>
              <a:rPr lang="en-US" sz="3600" b="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Agenda</a:t>
            </a:r>
          </a:p>
        </p:txBody>
      </p:sp>
    </p:spTree>
    <p:extLst>
      <p:ext uri="{BB962C8B-B14F-4D97-AF65-F5344CB8AC3E}">
        <p14:creationId xmlns:p14="http://schemas.microsoft.com/office/powerpoint/2010/main" val="4109774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EF8DF3-460A-4061-A4E9-FBD2A9BA6EE7}"/>
              </a:ext>
            </a:extLst>
          </p:cNvPr>
          <p:cNvGraphicFramePr>
            <a:graphicFrameLocks noChangeAspect="1"/>
          </p:cNvGraphicFramePr>
          <p:nvPr userDrawn="1">
            <p:custDataLst>
              <p:tags r:id="rId1"/>
            </p:custDataLst>
            <p:extLst>
              <p:ext uri="{D42A27DB-BD31-4B8C-83A1-F6EECF244321}">
                <p14:modId xmlns:p14="http://schemas.microsoft.com/office/powerpoint/2010/main" val="192691082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E7EF8DF3-460A-4061-A4E9-FBD2A9BA6EE7}"/>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57A9C9AC-9DD7-40E0-95FA-3A0A6D04D621}"/>
              </a:ext>
            </a:extLst>
          </p:cNvPr>
          <p:cNvSpPr>
            <a:spLocks noGrp="1"/>
          </p:cNvSpPr>
          <p:nvPr>
            <p:ph type="body" sz="quarter" idx="12"/>
          </p:nvPr>
        </p:nvSpPr>
        <p:spPr>
          <a:xfrm>
            <a:off x="901232" y="3280617"/>
            <a:ext cx="3992071" cy="1866514"/>
          </a:xfrm>
        </p:spPr>
        <p:txBody>
          <a:bodyPr/>
          <a:lstStyle>
            <a:lvl1pPr marL="0" indent="0" algn="l">
              <a:buNone/>
              <a:defRPr sz="160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lgn="l">
              <a:buNone/>
              <a:defRPr sz="1600">
                <a:latin typeface="EYInterstate Light" panose="02000506000000020004" pitchFamily="2" charset="0"/>
                <a:cs typeface="Arial" panose="020B0604020202020204" pitchFamily="34" charset="0"/>
                <a:sym typeface="EYInterstate Light" panose="02000506000000020004" pitchFamily="2" charset="0"/>
              </a:defRPr>
            </a:lvl2pPr>
            <a:lvl3pPr marL="342900" indent="0" algn="l">
              <a:buNone/>
              <a:defRPr sz="1600">
                <a:latin typeface="EYInterstate Light" panose="02000506000000020004" pitchFamily="2" charset="0"/>
                <a:cs typeface="Arial" panose="020B0604020202020204" pitchFamily="34" charset="0"/>
                <a:sym typeface="EYInterstate Light" panose="02000506000000020004" pitchFamily="2" charset="0"/>
              </a:defRPr>
            </a:lvl3pPr>
            <a:lvl4pPr marL="514350" indent="0" algn="l">
              <a:buNone/>
              <a:defRPr sz="1600">
                <a:latin typeface="EYInterstate Light" panose="02000506000000020004" pitchFamily="2" charset="0"/>
                <a:cs typeface="Arial" panose="020B0604020202020204" pitchFamily="34" charset="0"/>
                <a:sym typeface="EYInterstate Light" panose="02000506000000020004" pitchFamily="2" charset="0"/>
              </a:defRPr>
            </a:lvl4pPr>
            <a:lvl5pPr marL="685800" indent="0" algn="l">
              <a:buNone/>
              <a:defRPr sz="16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2495C4C6-721B-44F1-BDBF-2F69DB14B07D}"/>
              </a:ext>
            </a:extLst>
          </p:cNvPr>
          <p:cNvSpPr>
            <a:spLocks noGrp="1"/>
          </p:cNvSpPr>
          <p:nvPr>
            <p:ph type="body" sz="quarter" idx="11" hasCustomPrompt="1"/>
          </p:nvPr>
        </p:nvSpPr>
        <p:spPr>
          <a:xfrm>
            <a:off x="901231" y="2693993"/>
            <a:ext cx="3992071" cy="474211"/>
          </a:xfrm>
        </p:spPr>
        <p:txBody>
          <a:bodyPr/>
          <a:lstStyle>
            <a:lvl1pPr marL="0" indent="0" algn="l">
              <a:buNone/>
              <a:defRPr sz="240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2400"/>
            </a:lvl2pPr>
            <a:lvl3pPr marL="342900" indent="0">
              <a:buNone/>
              <a:defRPr sz="2400"/>
            </a:lvl3pPr>
            <a:lvl4pPr marL="514350" indent="0">
              <a:buNone/>
              <a:defRPr sz="2400"/>
            </a:lvl4pPr>
            <a:lvl5pPr marL="685800" indent="0">
              <a:buNone/>
              <a:defRPr sz="2400"/>
            </a:lvl5pPr>
          </a:lstStyle>
          <a:p>
            <a:pPr lvl="0"/>
            <a:r>
              <a:rPr lang="en-US" dirty="0"/>
              <a:t>Section divider slide</a:t>
            </a:r>
          </a:p>
        </p:txBody>
      </p:sp>
      <p:sp>
        <p:nvSpPr>
          <p:cNvPr id="5" name="Text Placeholder 4">
            <a:extLst>
              <a:ext uri="{FF2B5EF4-FFF2-40B4-BE49-F238E27FC236}">
                <a16:creationId xmlns:a16="http://schemas.microsoft.com/office/drawing/2014/main" id="{4DE48E81-5FD6-42EC-972C-B58776F1B7FC}"/>
              </a:ext>
            </a:extLst>
          </p:cNvPr>
          <p:cNvSpPr>
            <a:spLocks noGrp="1"/>
          </p:cNvSpPr>
          <p:nvPr>
            <p:ph type="body" sz="quarter" idx="10" hasCustomPrompt="1"/>
          </p:nvPr>
        </p:nvSpPr>
        <p:spPr>
          <a:xfrm>
            <a:off x="901231" y="1450586"/>
            <a:ext cx="3992071" cy="1267873"/>
          </a:xfrm>
        </p:spPr>
        <p:txBody>
          <a:bodyPr/>
          <a:lstStyle>
            <a:lvl1pPr marL="0" indent="0" algn="l">
              <a:spcBef>
                <a:spcPts val="0"/>
              </a:spcBef>
              <a:buNone/>
              <a:defRPr sz="880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8800"/>
            </a:lvl2pPr>
            <a:lvl3pPr marL="342900" indent="0">
              <a:buNone/>
              <a:defRPr sz="8800"/>
            </a:lvl3pPr>
            <a:lvl4pPr marL="514350" indent="0">
              <a:buNone/>
              <a:defRPr sz="8800"/>
            </a:lvl4pPr>
            <a:lvl5pPr marL="685800" indent="0">
              <a:buNone/>
              <a:defRPr sz="8800"/>
            </a:lvl5pPr>
          </a:lstStyle>
          <a:p>
            <a:pPr lvl="0"/>
            <a:r>
              <a:rPr lang="en-US" dirty="0"/>
              <a:t>01</a:t>
            </a:r>
          </a:p>
        </p:txBody>
      </p:sp>
      <p:sp>
        <p:nvSpPr>
          <p:cNvPr id="6" name="Rectangle 5">
            <a:extLst>
              <a:ext uri="{FF2B5EF4-FFF2-40B4-BE49-F238E27FC236}">
                <a16:creationId xmlns:a16="http://schemas.microsoft.com/office/drawing/2014/main" id="{20472BA1-4078-420D-A896-221D73FAEED0}"/>
              </a:ext>
            </a:extLst>
          </p:cNvPr>
          <p:cNvSpPr/>
          <p:nvPr userDrawn="1"/>
        </p:nvSpPr>
        <p:spPr>
          <a:xfrm>
            <a:off x="5314540" y="1718131"/>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Rectangle 9">
            <a:extLst>
              <a:ext uri="{FF2B5EF4-FFF2-40B4-BE49-F238E27FC236}">
                <a16:creationId xmlns:a16="http://schemas.microsoft.com/office/drawing/2014/main" id="{65038C85-FEAB-47E1-A298-24658905E96F}"/>
              </a:ext>
            </a:extLst>
          </p:cNvPr>
          <p:cNvSpPr/>
          <p:nvPr userDrawn="1">
            <p:custDataLst>
              <p:tags r:id="rId2"/>
            </p:custDataLst>
          </p:nvPr>
        </p:nvSpPr>
        <p:spPr>
          <a:xfrm>
            <a:off x="612445" y="1718131"/>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39998106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with phot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D3B0B2-8FFA-44E8-9403-22280047511A}"/>
              </a:ext>
            </a:extLst>
          </p:cNvPr>
          <p:cNvGraphicFramePr>
            <a:graphicFrameLocks noChangeAspect="1"/>
          </p:cNvGraphicFramePr>
          <p:nvPr userDrawn="1">
            <p:custDataLst>
              <p:tags r:id="rId1"/>
            </p:custDataLst>
            <p:extLst>
              <p:ext uri="{D42A27DB-BD31-4B8C-83A1-F6EECF244321}">
                <p14:modId xmlns:p14="http://schemas.microsoft.com/office/powerpoint/2010/main" val="2947465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59D3B0B2-8FFA-44E8-9403-2228004751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67340F8-FFDC-4ACD-9181-911E207B461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12198350" cy="6858001"/>
          </a:xfrm>
          <a:prstGeom prst="rect">
            <a:avLst/>
          </a:prstGeom>
        </p:spPr>
      </p:pic>
      <p:sp>
        <p:nvSpPr>
          <p:cNvPr id="22" name="TextBox 21">
            <a:extLst>
              <a:ext uri="{FF2B5EF4-FFF2-40B4-BE49-F238E27FC236}">
                <a16:creationId xmlns:a16="http://schemas.microsoft.com/office/drawing/2014/main" id="{942C8F52-FF44-484A-83BD-50543A3C4895}"/>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t>Page </a:t>
            </a:r>
            <a:fld id="{9AE4D82F-B047-469B-AC52-A46321747EAF}" type="slidenum">
              <a:rPr lang="en-GB" sz="700" smtClean="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3" name="Text Placeholder 14">
            <a:extLst>
              <a:ext uri="{FF2B5EF4-FFF2-40B4-BE49-F238E27FC236}">
                <a16:creationId xmlns:a16="http://schemas.microsoft.com/office/drawing/2014/main" id="{8D4F633B-67BC-4F31-932B-05C2E57456FC}"/>
              </a:ext>
            </a:extLst>
          </p:cNvPr>
          <p:cNvSpPr>
            <a:spLocks noGrp="1"/>
          </p:cNvSpPr>
          <p:nvPr>
            <p:ph type="body" sz="quarter" idx="12"/>
          </p:nvPr>
        </p:nvSpPr>
        <p:spPr>
          <a:xfrm>
            <a:off x="901232" y="3280617"/>
            <a:ext cx="3992071" cy="1866514"/>
          </a:xfrm>
        </p:spPr>
        <p:txBody>
          <a:bodyPr/>
          <a:lstStyle>
            <a:lvl1pPr marL="0" indent="0" algn="l">
              <a:buNone/>
              <a:defRPr sz="16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lgn="l">
              <a:buNone/>
              <a:defRPr sz="16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2pPr>
            <a:lvl3pPr marL="342900" indent="0" algn="l">
              <a:buNone/>
              <a:defRPr sz="16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3pPr>
            <a:lvl4pPr marL="514350" indent="0" algn="l">
              <a:buNone/>
              <a:defRPr sz="16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4pPr>
            <a:lvl5pPr marL="685800" indent="0" algn="l">
              <a:buNone/>
              <a:defRPr sz="16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2">
            <a:extLst>
              <a:ext uri="{FF2B5EF4-FFF2-40B4-BE49-F238E27FC236}">
                <a16:creationId xmlns:a16="http://schemas.microsoft.com/office/drawing/2014/main" id="{697817F2-9464-4F8E-BF58-71756C879F1D}"/>
              </a:ext>
            </a:extLst>
          </p:cNvPr>
          <p:cNvSpPr>
            <a:spLocks noGrp="1"/>
          </p:cNvSpPr>
          <p:nvPr>
            <p:ph type="body" sz="quarter" idx="11" hasCustomPrompt="1"/>
          </p:nvPr>
        </p:nvSpPr>
        <p:spPr>
          <a:xfrm>
            <a:off x="901231" y="2693993"/>
            <a:ext cx="3992071" cy="474211"/>
          </a:xfrm>
        </p:spPr>
        <p:txBody>
          <a:bodyPr/>
          <a:lstStyle>
            <a:lvl1pPr marL="0" indent="0" algn="l">
              <a:buNone/>
              <a:defRPr sz="24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2400"/>
            </a:lvl2pPr>
            <a:lvl3pPr marL="342900" indent="0">
              <a:buNone/>
              <a:defRPr sz="2400"/>
            </a:lvl3pPr>
            <a:lvl4pPr marL="514350" indent="0">
              <a:buNone/>
              <a:defRPr sz="2400"/>
            </a:lvl4pPr>
            <a:lvl5pPr marL="685800" indent="0">
              <a:buNone/>
              <a:defRPr sz="2400"/>
            </a:lvl5pPr>
          </a:lstStyle>
          <a:p>
            <a:pPr lvl="0"/>
            <a:r>
              <a:rPr lang="en-US" dirty="0"/>
              <a:t>Section divider slide</a:t>
            </a:r>
          </a:p>
        </p:txBody>
      </p:sp>
      <p:sp>
        <p:nvSpPr>
          <p:cNvPr id="25" name="Text Placeholder 4">
            <a:extLst>
              <a:ext uri="{FF2B5EF4-FFF2-40B4-BE49-F238E27FC236}">
                <a16:creationId xmlns:a16="http://schemas.microsoft.com/office/drawing/2014/main" id="{2A58B115-9908-4B9D-A724-9BB9B6567FFE}"/>
              </a:ext>
            </a:extLst>
          </p:cNvPr>
          <p:cNvSpPr>
            <a:spLocks noGrp="1"/>
          </p:cNvSpPr>
          <p:nvPr>
            <p:ph type="body" sz="quarter" idx="10" hasCustomPrompt="1"/>
          </p:nvPr>
        </p:nvSpPr>
        <p:spPr>
          <a:xfrm>
            <a:off x="901231" y="1450586"/>
            <a:ext cx="3992071" cy="1267873"/>
          </a:xfrm>
        </p:spPr>
        <p:txBody>
          <a:bodyPr/>
          <a:lstStyle>
            <a:lvl1pPr marL="0" indent="0" algn="l">
              <a:spcBef>
                <a:spcPts val="0"/>
              </a:spcBef>
              <a:buNone/>
              <a:defRPr sz="8800">
                <a:solidFill>
                  <a:schemeClr val="tx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8800"/>
            </a:lvl2pPr>
            <a:lvl3pPr marL="342900" indent="0">
              <a:buNone/>
              <a:defRPr sz="8800"/>
            </a:lvl3pPr>
            <a:lvl4pPr marL="514350" indent="0">
              <a:buNone/>
              <a:defRPr sz="8800"/>
            </a:lvl4pPr>
            <a:lvl5pPr marL="685800" indent="0">
              <a:buNone/>
              <a:defRPr sz="8800"/>
            </a:lvl5pPr>
          </a:lstStyle>
          <a:p>
            <a:pPr lvl="0"/>
            <a:r>
              <a:rPr lang="en-US" dirty="0"/>
              <a:t>01</a:t>
            </a:r>
          </a:p>
        </p:txBody>
      </p:sp>
      <p:sp>
        <p:nvSpPr>
          <p:cNvPr id="26" name="Rectangle 25">
            <a:extLst>
              <a:ext uri="{FF2B5EF4-FFF2-40B4-BE49-F238E27FC236}">
                <a16:creationId xmlns:a16="http://schemas.microsoft.com/office/drawing/2014/main" id="{97B309F3-09C5-4DDB-8C15-BF7E0DED23A2}"/>
              </a:ext>
            </a:extLst>
          </p:cNvPr>
          <p:cNvSpPr/>
          <p:nvPr userDrawn="1"/>
        </p:nvSpPr>
        <p:spPr>
          <a:xfrm>
            <a:off x="5314540" y="4476749"/>
            <a:ext cx="155367" cy="670381"/>
          </a:xfrm>
          <a:custGeom>
            <a:avLst/>
            <a:gdLst>
              <a:gd name="connsiteX0" fmla="*/ 0 w 155367"/>
              <a:gd name="connsiteY0" fmla="*/ 0 h 670381"/>
              <a:gd name="connsiteX1" fmla="*/ 155367 w 155367"/>
              <a:gd name="connsiteY1" fmla="*/ 0 h 670381"/>
              <a:gd name="connsiteX2" fmla="*/ 155367 w 155367"/>
              <a:gd name="connsiteY2" fmla="*/ 670381 h 670381"/>
              <a:gd name="connsiteX3" fmla="*/ 0 w 155367"/>
              <a:gd name="connsiteY3" fmla="*/ 670381 h 670381"/>
              <a:gd name="connsiteX4" fmla="*/ 0 w 155367"/>
              <a:gd name="connsiteY4" fmla="*/ 0 h 670381"/>
              <a:gd name="connsiteX0" fmla="*/ 0 w 155367"/>
              <a:gd name="connsiteY0" fmla="*/ 0 h 670381"/>
              <a:gd name="connsiteX1" fmla="*/ 155367 w 155367"/>
              <a:gd name="connsiteY1" fmla="*/ 126206 h 670381"/>
              <a:gd name="connsiteX2" fmla="*/ 155367 w 155367"/>
              <a:gd name="connsiteY2" fmla="*/ 670381 h 670381"/>
              <a:gd name="connsiteX3" fmla="*/ 0 w 155367"/>
              <a:gd name="connsiteY3" fmla="*/ 670381 h 670381"/>
              <a:gd name="connsiteX4" fmla="*/ 0 w 155367"/>
              <a:gd name="connsiteY4" fmla="*/ 0 h 670381"/>
              <a:gd name="connsiteX0" fmla="*/ 0 w 155367"/>
              <a:gd name="connsiteY0" fmla="*/ 0 h 670381"/>
              <a:gd name="connsiteX1" fmla="*/ 155367 w 155367"/>
              <a:gd name="connsiteY1" fmla="*/ 133350 h 670381"/>
              <a:gd name="connsiteX2" fmla="*/ 155367 w 155367"/>
              <a:gd name="connsiteY2" fmla="*/ 670381 h 670381"/>
              <a:gd name="connsiteX3" fmla="*/ 0 w 155367"/>
              <a:gd name="connsiteY3" fmla="*/ 670381 h 670381"/>
              <a:gd name="connsiteX4" fmla="*/ 0 w 155367"/>
              <a:gd name="connsiteY4" fmla="*/ 0 h 670381"/>
              <a:gd name="connsiteX0" fmla="*/ 0 w 155367"/>
              <a:gd name="connsiteY0" fmla="*/ 0 h 670381"/>
              <a:gd name="connsiteX1" fmla="*/ 155367 w 155367"/>
              <a:gd name="connsiteY1" fmla="*/ 145256 h 670381"/>
              <a:gd name="connsiteX2" fmla="*/ 155367 w 155367"/>
              <a:gd name="connsiteY2" fmla="*/ 670381 h 670381"/>
              <a:gd name="connsiteX3" fmla="*/ 0 w 155367"/>
              <a:gd name="connsiteY3" fmla="*/ 670381 h 670381"/>
              <a:gd name="connsiteX4" fmla="*/ 0 w 155367"/>
              <a:gd name="connsiteY4" fmla="*/ 0 h 67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67" h="670381">
                <a:moveTo>
                  <a:pt x="0" y="0"/>
                </a:moveTo>
                <a:lnTo>
                  <a:pt x="155367" y="145256"/>
                </a:lnTo>
                <a:lnTo>
                  <a:pt x="155367" y="670381"/>
                </a:lnTo>
                <a:lnTo>
                  <a:pt x="0" y="670381"/>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7" name="Rectangle 26">
            <a:extLst>
              <a:ext uri="{FF2B5EF4-FFF2-40B4-BE49-F238E27FC236}">
                <a16:creationId xmlns:a16="http://schemas.microsoft.com/office/drawing/2014/main" id="{ADA854DC-8235-4795-90AF-67EE36D037F3}"/>
              </a:ext>
            </a:extLst>
          </p:cNvPr>
          <p:cNvSpPr/>
          <p:nvPr userDrawn="1">
            <p:custDataLst>
              <p:tags r:id="rId2"/>
            </p:custDataLst>
          </p:nvPr>
        </p:nvSpPr>
        <p:spPr>
          <a:xfrm>
            <a:off x="612445" y="1718131"/>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8" name="Rectangle 27">
            <a:extLst>
              <a:ext uri="{FF2B5EF4-FFF2-40B4-BE49-F238E27FC236}">
                <a16:creationId xmlns:a16="http://schemas.microsoft.com/office/drawing/2014/main" id="{058C6C40-C5C9-4E92-8C44-0A43AFF32909}"/>
              </a:ext>
            </a:extLst>
          </p:cNvPr>
          <p:cNvSpPr/>
          <p:nvPr userDrawn="1"/>
        </p:nvSpPr>
        <p:spPr>
          <a:xfrm>
            <a:off x="5314540" y="1718132"/>
            <a:ext cx="155367" cy="856001"/>
          </a:xfrm>
          <a:custGeom>
            <a:avLst/>
            <a:gdLst>
              <a:gd name="connsiteX0" fmla="*/ 0 w 155367"/>
              <a:gd name="connsiteY0" fmla="*/ 0 h 758369"/>
              <a:gd name="connsiteX1" fmla="*/ 155367 w 155367"/>
              <a:gd name="connsiteY1" fmla="*/ 0 h 758369"/>
              <a:gd name="connsiteX2" fmla="*/ 155367 w 155367"/>
              <a:gd name="connsiteY2" fmla="*/ 758369 h 758369"/>
              <a:gd name="connsiteX3" fmla="*/ 0 w 155367"/>
              <a:gd name="connsiteY3" fmla="*/ 758369 h 758369"/>
              <a:gd name="connsiteX4" fmla="*/ 0 w 155367"/>
              <a:gd name="connsiteY4" fmla="*/ 0 h 758369"/>
              <a:gd name="connsiteX0" fmla="*/ 0 w 155367"/>
              <a:gd name="connsiteY0" fmla="*/ 0 h 844094"/>
              <a:gd name="connsiteX1" fmla="*/ 155367 w 155367"/>
              <a:gd name="connsiteY1" fmla="*/ 0 h 844094"/>
              <a:gd name="connsiteX2" fmla="*/ 155367 w 155367"/>
              <a:gd name="connsiteY2" fmla="*/ 844094 h 844094"/>
              <a:gd name="connsiteX3" fmla="*/ 0 w 155367"/>
              <a:gd name="connsiteY3" fmla="*/ 758369 h 844094"/>
              <a:gd name="connsiteX4" fmla="*/ 0 w 155367"/>
              <a:gd name="connsiteY4" fmla="*/ 0 h 844094"/>
              <a:gd name="connsiteX0" fmla="*/ 0 w 155367"/>
              <a:gd name="connsiteY0" fmla="*/ 0 h 844094"/>
              <a:gd name="connsiteX1" fmla="*/ 155367 w 155367"/>
              <a:gd name="connsiteY1" fmla="*/ 0 h 844094"/>
              <a:gd name="connsiteX2" fmla="*/ 155367 w 155367"/>
              <a:gd name="connsiteY2" fmla="*/ 844094 h 844094"/>
              <a:gd name="connsiteX3" fmla="*/ 0 w 155367"/>
              <a:gd name="connsiteY3" fmla="*/ 725032 h 844094"/>
              <a:gd name="connsiteX4" fmla="*/ 0 w 155367"/>
              <a:gd name="connsiteY4" fmla="*/ 0 h 844094"/>
              <a:gd name="connsiteX0" fmla="*/ 0 w 155367"/>
              <a:gd name="connsiteY0" fmla="*/ 0 h 856001"/>
              <a:gd name="connsiteX1" fmla="*/ 155367 w 155367"/>
              <a:gd name="connsiteY1" fmla="*/ 0 h 856001"/>
              <a:gd name="connsiteX2" fmla="*/ 155367 w 155367"/>
              <a:gd name="connsiteY2" fmla="*/ 856001 h 856001"/>
              <a:gd name="connsiteX3" fmla="*/ 0 w 155367"/>
              <a:gd name="connsiteY3" fmla="*/ 725032 h 856001"/>
              <a:gd name="connsiteX4" fmla="*/ 0 w 155367"/>
              <a:gd name="connsiteY4" fmla="*/ 0 h 85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67" h="856001">
                <a:moveTo>
                  <a:pt x="0" y="0"/>
                </a:moveTo>
                <a:lnTo>
                  <a:pt x="155367" y="0"/>
                </a:lnTo>
                <a:lnTo>
                  <a:pt x="155367" y="856001"/>
                </a:lnTo>
                <a:lnTo>
                  <a:pt x="0" y="72503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37429143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content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FAB4E20-55CB-4158-A9C8-7325E8F44632}"/>
              </a:ext>
            </a:extLst>
          </p:cNvPr>
          <p:cNvGraphicFramePr>
            <a:graphicFrameLocks noChangeAspect="1"/>
          </p:cNvGraphicFramePr>
          <p:nvPr userDrawn="1">
            <p:custDataLst>
              <p:tags r:id="rId1"/>
            </p:custDataLst>
            <p:extLst>
              <p:ext uri="{D42A27DB-BD31-4B8C-83A1-F6EECF244321}">
                <p14:modId xmlns:p14="http://schemas.microsoft.com/office/powerpoint/2010/main" val="137807718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ct 9" hidden="1">
                        <a:extLst>
                          <a:ext uri="{FF2B5EF4-FFF2-40B4-BE49-F238E27FC236}">
                            <a16:creationId xmlns:a16="http://schemas.microsoft.com/office/drawing/2014/main" id="{BFAB4E20-55CB-4158-A9C8-7325E8F4463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A84C789-62FA-4F59-9003-A9B09879C6EA}"/>
              </a:ext>
            </a:extLst>
          </p:cNvPr>
          <p:cNvSpPr>
            <a:spLocks noGrp="1"/>
          </p:cNvSpPr>
          <p:nvPr>
            <p:ph type="body" sz="quarter" idx="12"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2" name="Title 1"/>
          <p:cNvSpPr>
            <a:spLocks noGrp="1"/>
          </p:cNvSpPr>
          <p:nvPr>
            <p:ph type="title"/>
          </p:nvPr>
        </p:nvSpPr>
        <p:spPr>
          <a:xfrm>
            <a:off x="612648" y="294200"/>
            <a:ext cx="10967088" cy="590400"/>
          </a:xfrm>
        </p:spPr>
        <p:txBody>
          <a:bodyPr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15365" y="1280159"/>
            <a:ext cx="10969256" cy="4892040"/>
          </a:xfrm>
          <a:prstGeom prst="rect">
            <a:avLst/>
          </a:prstGeom>
        </p:spPr>
        <p:txBody>
          <a:bodyPr vert="horz" lIns="0" tIns="0" rIns="0" bIns="0" rtlCol="0" anchor="t" anchorCtr="0">
            <a:noAutofit/>
          </a:bodyPr>
          <a:lstStyle>
            <a:lvl1pPr marL="268288" indent="-268288">
              <a:defRPr sz="1600">
                <a:latin typeface="EYInterstate Light" panose="02000506000000020004" pitchFamily="2" charset="0"/>
                <a:cs typeface="Arial" panose="020B0604020202020204" pitchFamily="34" charset="0"/>
                <a:sym typeface="EYInterstate Light" panose="02000506000000020004" pitchFamily="2" charset="0"/>
              </a:defRPr>
            </a:lvl1pPr>
            <a:lvl2pPr marL="534988" indent="-263525">
              <a:defRPr sz="1600">
                <a:latin typeface="EYInterstate Light" panose="02000506000000020004" pitchFamily="2" charset="0"/>
                <a:cs typeface="Arial" panose="020B0604020202020204" pitchFamily="34" charset="0"/>
                <a:sym typeface="EYInterstate Light" panose="02000506000000020004" pitchFamily="2" charset="0"/>
              </a:defRPr>
            </a:lvl2pPr>
            <a:lvl3pPr marL="803275" indent="-254000">
              <a:defRPr sz="1600">
                <a:latin typeface="EYInterstate Light" panose="02000506000000020004" pitchFamily="2" charset="0"/>
                <a:cs typeface="Arial" panose="020B0604020202020204" pitchFamily="34" charset="0"/>
                <a:sym typeface="EYInterstate Light" panose="02000506000000020004" pitchFamily="2" charset="0"/>
              </a:defRPr>
            </a:lvl3pPr>
            <a:lvl4pPr marL="1081088" indent="-263525">
              <a:defRPr sz="1600">
                <a:latin typeface="EYInterstate Light" panose="02000506000000020004" pitchFamily="2" charset="0"/>
                <a:cs typeface="Arial" panose="020B0604020202020204" pitchFamily="34" charset="0"/>
                <a:sym typeface="EYInterstate Light" panose="02000506000000020004" pitchFamily="2" charset="0"/>
              </a:defRPr>
            </a:lvl4pPr>
            <a:lvl5pPr marL="1347788" indent="-266700">
              <a:defRPr sz="16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11">
            <a:extLst>
              <a:ext uri="{FF2B5EF4-FFF2-40B4-BE49-F238E27FC236}">
                <a16:creationId xmlns:a16="http://schemas.microsoft.com/office/drawing/2014/main" id="{4DD44F4E-420C-48B9-9798-D487707141AC}"/>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6" name="Text Placeholder 5">
            <a:extLst>
              <a:ext uri="{FF2B5EF4-FFF2-40B4-BE49-F238E27FC236}">
                <a16:creationId xmlns:a16="http://schemas.microsoft.com/office/drawing/2014/main" id="{B2A22591-BBFD-46A5-89FA-9C7F341015D4}"/>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5" name="Text Placeholder 4">
            <a:extLst>
              <a:ext uri="{FF2B5EF4-FFF2-40B4-BE49-F238E27FC236}">
                <a16:creationId xmlns:a16="http://schemas.microsoft.com/office/drawing/2014/main" id="{2809722D-189E-40D6-9E6F-ADF30F3D2E92}"/>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278323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tandard content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FAB4E20-55CB-4158-A9C8-7325E8F44632}"/>
              </a:ext>
            </a:extLst>
          </p:cNvPr>
          <p:cNvGraphicFramePr>
            <a:graphicFrameLocks noChangeAspect="1"/>
          </p:cNvGraphicFramePr>
          <p:nvPr userDrawn="1">
            <p:custDataLst>
              <p:tags r:id="rId1"/>
            </p:custDataLst>
            <p:extLst>
              <p:ext uri="{D42A27DB-BD31-4B8C-83A1-F6EECF244321}">
                <p14:modId xmlns:p14="http://schemas.microsoft.com/office/powerpoint/2010/main" val="254323095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ct 9" hidden="1">
                        <a:extLst>
                          <a:ext uri="{FF2B5EF4-FFF2-40B4-BE49-F238E27FC236}">
                            <a16:creationId xmlns:a16="http://schemas.microsoft.com/office/drawing/2014/main" id="{BFAB4E20-55CB-4158-A9C8-7325E8F4463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67088" cy="590400"/>
          </a:xfrm>
        </p:spPr>
        <p:txBody>
          <a:bodyPr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15365" y="1280159"/>
            <a:ext cx="10969256" cy="4892040"/>
          </a:xfrm>
          <a:prstGeom prst="rect">
            <a:avLst/>
          </a:prstGeom>
        </p:spPr>
        <p:txBody>
          <a:bodyPr vert="horz" lIns="0" tIns="0" rIns="0" bIns="0" rtlCol="0" anchor="t" anchorCtr="0">
            <a:noAutofit/>
          </a:bodyPr>
          <a:lstStyle>
            <a:lvl1pPr marL="268288" indent="-268288">
              <a:defRPr sz="1600">
                <a:latin typeface="EYInterstate Light" panose="02000506000000020004" pitchFamily="2" charset="0"/>
                <a:cs typeface="Arial" panose="020B0604020202020204" pitchFamily="34" charset="0"/>
                <a:sym typeface="EYInterstate Light" panose="02000506000000020004" pitchFamily="2" charset="0"/>
              </a:defRPr>
            </a:lvl1pPr>
            <a:lvl2pPr marL="534988" indent="-263525">
              <a:defRPr sz="1600">
                <a:latin typeface="EYInterstate Light" panose="02000506000000020004" pitchFamily="2" charset="0"/>
                <a:cs typeface="Arial" panose="020B0604020202020204" pitchFamily="34" charset="0"/>
                <a:sym typeface="EYInterstate Light" panose="02000506000000020004" pitchFamily="2" charset="0"/>
              </a:defRPr>
            </a:lvl2pPr>
            <a:lvl3pPr marL="803275" indent="-254000">
              <a:defRPr sz="1600">
                <a:latin typeface="EYInterstate Light" panose="02000506000000020004" pitchFamily="2" charset="0"/>
                <a:cs typeface="Arial" panose="020B0604020202020204" pitchFamily="34" charset="0"/>
                <a:sym typeface="EYInterstate Light" panose="02000506000000020004" pitchFamily="2" charset="0"/>
              </a:defRPr>
            </a:lvl3pPr>
            <a:lvl4pPr marL="1081088" indent="-263525">
              <a:defRPr sz="1600">
                <a:latin typeface="EYInterstate Light" panose="02000506000000020004" pitchFamily="2" charset="0"/>
                <a:cs typeface="Arial" panose="020B0604020202020204" pitchFamily="34" charset="0"/>
                <a:sym typeface="EYInterstate Light" panose="02000506000000020004" pitchFamily="2" charset="0"/>
              </a:defRPr>
            </a:lvl4pPr>
            <a:lvl5pPr marL="1347788" indent="-266700">
              <a:defRPr sz="16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11">
            <a:extLst>
              <a:ext uri="{FF2B5EF4-FFF2-40B4-BE49-F238E27FC236}">
                <a16:creationId xmlns:a16="http://schemas.microsoft.com/office/drawing/2014/main" id="{4DD44F4E-420C-48B9-9798-D487707141AC}"/>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24698103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63C0776-6DA7-49CB-95AB-F08C87B88060}"/>
              </a:ext>
            </a:extLst>
          </p:cNvPr>
          <p:cNvGraphicFramePr>
            <a:graphicFrameLocks noChangeAspect="1"/>
          </p:cNvGraphicFramePr>
          <p:nvPr userDrawn="1">
            <p:custDataLst>
              <p:tags r:id="rId1"/>
            </p:custDataLst>
            <p:extLst>
              <p:ext uri="{D42A27DB-BD31-4B8C-83A1-F6EECF244321}">
                <p14:modId xmlns:p14="http://schemas.microsoft.com/office/powerpoint/2010/main" val="277492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Object 8" hidden="1">
                        <a:extLst>
                          <a:ext uri="{FF2B5EF4-FFF2-40B4-BE49-F238E27FC236}">
                            <a16:creationId xmlns:a16="http://schemas.microsoft.com/office/drawing/2014/main" id="{E63C0776-6DA7-49CB-95AB-F08C87B880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0"/>
            <a:ext cx="3997149" cy="6857999"/>
          </a:xfrm>
        </p:spPr>
        <p:txBody>
          <a:bodyPr/>
          <a:lstStyle/>
          <a:p>
            <a:endParaRPr lang="en-IN" dirty="0"/>
          </a:p>
        </p:txBody>
      </p:sp>
      <p:sp>
        <p:nvSpPr>
          <p:cNvPr id="2" name="Title 1"/>
          <p:cNvSpPr>
            <a:spLocks noGrp="1"/>
          </p:cNvSpPr>
          <p:nvPr>
            <p:ph type="title"/>
          </p:nvPr>
        </p:nvSpPr>
        <p:spPr>
          <a:xfrm>
            <a:off x="609601" y="294200"/>
            <a:ext cx="7440547" cy="590400"/>
          </a:xfrm>
        </p:spPr>
        <p:txBody>
          <a:bodyPr vert="horz"/>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336025"/>
            <a:ext cx="3578253" cy="1844855"/>
          </a:xfrm>
        </p:spPr>
        <p:txBody>
          <a:bodyPr numCol="1"/>
          <a:lstStyle>
            <a:lvl1pPr marL="0" indent="0">
              <a:buNone/>
              <a:defRPr sz="1799">
                <a:solidFill>
                  <a:schemeClr val="bg1"/>
                </a:solidFill>
                <a:latin typeface="Georgia" panose="02040502050405020303" pitchFamily="18"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Text Placeholder 11">
            <a:extLst>
              <a:ext uri="{FF2B5EF4-FFF2-40B4-BE49-F238E27FC236}">
                <a16:creationId xmlns:a16="http://schemas.microsoft.com/office/drawing/2014/main" id="{C1051FD5-7689-4B75-AFC0-B2333C9DAD05}"/>
              </a:ext>
            </a:extLst>
          </p:cNvPr>
          <p:cNvSpPr>
            <a:spLocks noGrp="1"/>
          </p:cNvSpPr>
          <p:nvPr>
            <p:ph type="body" sz="quarter" idx="14"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24295150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E0F91C-0C23-483C-87CC-D53582ADC5A3}"/>
              </a:ext>
            </a:extLst>
          </p:cNvPr>
          <p:cNvGraphicFramePr>
            <a:graphicFrameLocks noChangeAspect="1"/>
          </p:cNvGraphicFramePr>
          <p:nvPr userDrawn="1">
            <p:custDataLst>
              <p:tags r:id="rId1"/>
            </p:custDataLst>
            <p:extLst>
              <p:ext uri="{D42A27DB-BD31-4B8C-83A1-F6EECF244321}">
                <p14:modId xmlns:p14="http://schemas.microsoft.com/office/powerpoint/2010/main" val="2323946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2E0F91C-0C23-483C-87CC-D53582ADC5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99A22A5-932F-401A-B63D-94CC117DA1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176" y="3176"/>
            <a:ext cx="12188824" cy="6858000"/>
          </a:xfrm>
          <a:prstGeom prst="rect">
            <a:avLst/>
          </a:prstGeom>
        </p:spPr>
      </p:pic>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accent1"/>
                </a:solidFill>
                <a:latin typeface="Georgia" panose="02040502050405020303" pitchFamily="18" charset="0"/>
                <a:cs typeface="Arial" panose="020B0604020202020204" pitchFamily="34" charset="0"/>
                <a:sym typeface="EYInterstate Light" panose="02000506000000020004" pitchFamily="2"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solidFill>
                  <a:srgbClr val="2E2E38"/>
                </a:solidFill>
                <a:latin typeface="Georgia" panose="02040502050405020303" pitchFamily="18" charset="0"/>
                <a:cs typeface="Arial" panose="020B0604020202020204" pitchFamily="34" charset="0"/>
                <a:sym typeface="EYInterstate Light" panose="02000506000000020004" pitchFamily="2"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accent1"/>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
        <p:nvSpPr>
          <p:cNvPr id="10" name="TextBox 9">
            <a:extLst>
              <a:ext uri="{FF2B5EF4-FFF2-40B4-BE49-F238E27FC236}">
                <a16:creationId xmlns:a16="http://schemas.microsoft.com/office/drawing/2014/main" id="{D72EC4E5-6CA4-4605-85D2-A619E4EAF050}"/>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t>Page </a:t>
            </a:r>
            <a:fld id="{9AE4D82F-B047-469B-AC52-A46321747EAF}" type="slidenum">
              <a:rPr lang="en-GB" sz="700" smtClean="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11" name="Group 10">
            <a:extLst>
              <a:ext uri="{FF2B5EF4-FFF2-40B4-BE49-F238E27FC236}">
                <a16:creationId xmlns:a16="http://schemas.microsoft.com/office/drawing/2014/main" id="{91A4DC3B-495D-493C-B998-26FA70F51985}"/>
              </a:ext>
            </a:extLst>
          </p:cNvPr>
          <p:cNvGrpSpPr/>
          <p:nvPr userDrawn="1"/>
        </p:nvGrpSpPr>
        <p:grpSpPr>
          <a:xfrm>
            <a:off x="10624714" y="6367519"/>
            <a:ext cx="955115" cy="308551"/>
            <a:chOff x="2703513" y="2332038"/>
            <a:chExt cx="6784975" cy="2190751"/>
          </a:xfrm>
        </p:grpSpPr>
        <p:sp>
          <p:nvSpPr>
            <p:cNvPr id="12" name="Freeform 115">
              <a:extLst>
                <a:ext uri="{FF2B5EF4-FFF2-40B4-BE49-F238E27FC236}">
                  <a16:creationId xmlns:a16="http://schemas.microsoft.com/office/drawing/2014/main" id="{616944D7-697B-459E-ACA0-9B937AFFC3D4}"/>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3" name="Freeform 116">
              <a:extLst>
                <a:ext uri="{FF2B5EF4-FFF2-40B4-BE49-F238E27FC236}">
                  <a16:creationId xmlns:a16="http://schemas.microsoft.com/office/drawing/2014/main" id="{24790250-EF28-4E82-88A1-FA907D55FAF2}"/>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Freeform 117">
              <a:extLst>
                <a:ext uri="{FF2B5EF4-FFF2-40B4-BE49-F238E27FC236}">
                  <a16:creationId xmlns:a16="http://schemas.microsoft.com/office/drawing/2014/main" id="{84AA5D18-66F4-49CA-9D1D-ED672AEF74D8}"/>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Freeform 118">
              <a:extLst>
                <a:ext uri="{FF2B5EF4-FFF2-40B4-BE49-F238E27FC236}">
                  <a16:creationId xmlns:a16="http://schemas.microsoft.com/office/drawing/2014/main" id="{B3903F4C-711E-4904-BFDF-4504758FDC76}"/>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6" name="Freeform 119">
              <a:extLst>
                <a:ext uri="{FF2B5EF4-FFF2-40B4-BE49-F238E27FC236}">
                  <a16:creationId xmlns:a16="http://schemas.microsoft.com/office/drawing/2014/main" id="{A7F8C63A-1947-4CF2-B679-4E8394DCD824}"/>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7" name="Freeform 120">
              <a:extLst>
                <a:ext uri="{FF2B5EF4-FFF2-40B4-BE49-F238E27FC236}">
                  <a16:creationId xmlns:a16="http://schemas.microsoft.com/office/drawing/2014/main" id="{46B855BA-BF88-4485-8663-2F3468F500C0}"/>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Freeform 121">
              <a:extLst>
                <a:ext uri="{FF2B5EF4-FFF2-40B4-BE49-F238E27FC236}">
                  <a16:creationId xmlns:a16="http://schemas.microsoft.com/office/drawing/2014/main" id="{28CA4552-7052-42D2-9EDE-C7BF65CFC689}"/>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9" name="Freeform 122">
              <a:extLst>
                <a:ext uri="{FF2B5EF4-FFF2-40B4-BE49-F238E27FC236}">
                  <a16:creationId xmlns:a16="http://schemas.microsoft.com/office/drawing/2014/main" id="{0A8AD9A6-AC34-4C4E-B6CB-8B9CCE2AC25A}"/>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0" name="Freeform 123">
              <a:extLst>
                <a:ext uri="{FF2B5EF4-FFF2-40B4-BE49-F238E27FC236}">
                  <a16:creationId xmlns:a16="http://schemas.microsoft.com/office/drawing/2014/main" id="{BC9452F1-F456-42E5-BC23-1246830FE913}"/>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1" name="Freeform 124">
              <a:extLst>
                <a:ext uri="{FF2B5EF4-FFF2-40B4-BE49-F238E27FC236}">
                  <a16:creationId xmlns:a16="http://schemas.microsoft.com/office/drawing/2014/main" id="{74D278BA-410D-41EB-8EEA-ECA84605FB91}"/>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2" name="Freeform 125">
              <a:extLst>
                <a:ext uri="{FF2B5EF4-FFF2-40B4-BE49-F238E27FC236}">
                  <a16:creationId xmlns:a16="http://schemas.microsoft.com/office/drawing/2014/main" id="{5B8204E6-1F8F-407B-9B54-C4504A9028FB}"/>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23" name="Text Placeholder 11">
            <a:extLst>
              <a:ext uri="{FF2B5EF4-FFF2-40B4-BE49-F238E27FC236}">
                <a16:creationId xmlns:a16="http://schemas.microsoft.com/office/drawing/2014/main" id="{89CE6FF4-CDF5-4358-AEAE-06A5226A13E1}"/>
              </a:ext>
            </a:extLst>
          </p:cNvPr>
          <p:cNvSpPr>
            <a:spLocks noGrp="1"/>
          </p:cNvSpPr>
          <p:nvPr>
            <p:ph type="body" sz="quarter" idx="13"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12448944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C7D0A-110A-49A1-A8F0-B342E97A3919}"/>
              </a:ext>
            </a:extLst>
          </p:cNvPr>
          <p:cNvGraphicFramePr>
            <a:graphicFrameLocks noChangeAspect="1"/>
          </p:cNvGraphicFramePr>
          <p:nvPr userDrawn="1">
            <p:custDataLst>
              <p:tags r:id="rId1"/>
            </p:custDataLst>
            <p:extLst>
              <p:ext uri="{D42A27DB-BD31-4B8C-83A1-F6EECF244321}">
                <p14:modId xmlns:p14="http://schemas.microsoft.com/office/powerpoint/2010/main" val="329265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17C7D0A-110A-49A1-A8F0-B342E97A39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cs typeface="Arial" panose="020B0604020202020204" pitchFamily="34" charset="0"/>
                <a:sym typeface="EYInterstate Light" panose="02000506000000020004" pitchFamily="2"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EYInterstate Light" panose="02000506000000020004" pitchFamily="2" charset="0"/>
                <a:cs typeface="Arial" panose="020B0604020202020204" pitchFamily="34" charset="0"/>
                <a:sym typeface="EYInterstate Light" panose="02000506000000020004" pitchFamily="2" charset="0"/>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EYInterstate Light" panose="02000506000000020004" pitchFamily="2" charset="0"/>
                <a:cs typeface="Arial" panose="020B0604020202020204" pitchFamily="34" charset="0"/>
                <a:sym typeface="EYInterstate Light" panose="02000506000000020004" pitchFamily="2" charset="0"/>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accent1"/>
                </a:solidFill>
                <a:latin typeface="Georgia" panose="02040502050405020303" pitchFamily="18" charset="0"/>
                <a:cs typeface="Arial" panose="020B0604020202020204" pitchFamily="34" charset="0"/>
                <a:sym typeface="EYInterstate Light" panose="02000506000000020004" pitchFamily="2" charset="0"/>
              </a:rPr>
              <a:t>“ </a:t>
            </a:r>
          </a:p>
        </p:txBody>
      </p:sp>
      <p:sp>
        <p:nvSpPr>
          <p:cNvPr id="7" name="Text Placeholder 11">
            <a:extLst>
              <a:ext uri="{FF2B5EF4-FFF2-40B4-BE49-F238E27FC236}">
                <a16:creationId xmlns:a16="http://schemas.microsoft.com/office/drawing/2014/main" id="{C5616931-B382-47F7-A332-5C218E82F048}"/>
              </a:ext>
            </a:extLst>
          </p:cNvPr>
          <p:cNvSpPr>
            <a:spLocks noGrp="1"/>
          </p:cNvSpPr>
          <p:nvPr>
            <p:ph type="body" sz="quarter" idx="13"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35048342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2FE2F0-75C4-4CFF-85B8-F21A1B1123A7}"/>
              </a:ext>
            </a:extLst>
          </p:cNvPr>
          <p:cNvGraphicFramePr>
            <a:graphicFrameLocks noChangeAspect="1"/>
          </p:cNvGraphicFramePr>
          <p:nvPr userDrawn="1">
            <p:custDataLst>
              <p:tags r:id="rId1"/>
            </p:custDataLst>
            <p:extLst>
              <p:ext uri="{D42A27DB-BD31-4B8C-83A1-F6EECF244321}">
                <p14:modId xmlns:p14="http://schemas.microsoft.com/office/powerpoint/2010/main" val="3827369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642FE2F0-75C4-4CFF-85B8-F21A1B1123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nchor="ctr"/>
          <a:lstStyle>
            <a:lvl1pPr marL="0" indent="0" algn="ctr">
              <a:buNone/>
              <a:defRPr/>
            </a:lvl1pPr>
          </a:lstStyle>
          <a:p>
            <a:endParaRPr lang="en-IN" dirty="0"/>
          </a:p>
        </p:txBody>
      </p:sp>
      <p:sp>
        <p:nvSpPr>
          <p:cNvPr id="2" name="Title 1"/>
          <p:cNvSpPr>
            <a:spLocks noGrp="1"/>
          </p:cNvSpPr>
          <p:nvPr>
            <p:ph type="title"/>
          </p:nvPr>
        </p:nvSpPr>
        <p:spPr>
          <a:xfrm>
            <a:off x="2693891" y="294200"/>
            <a:ext cx="8887371" cy="590400"/>
          </a:xfrm>
        </p:spPr>
        <p:txBody>
          <a:bodyPr vert="horz"/>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Text Placeholder 11">
            <a:extLst>
              <a:ext uri="{FF2B5EF4-FFF2-40B4-BE49-F238E27FC236}">
                <a16:creationId xmlns:a16="http://schemas.microsoft.com/office/drawing/2014/main" id="{08226D3F-2D63-4B16-B7B6-BFE4B928C33D}"/>
              </a:ext>
            </a:extLst>
          </p:cNvPr>
          <p:cNvSpPr>
            <a:spLocks noGrp="1"/>
          </p:cNvSpPr>
          <p:nvPr>
            <p:ph type="body" sz="quarter" idx="13" hasCustomPrompt="1"/>
          </p:nvPr>
        </p:nvSpPr>
        <p:spPr>
          <a:xfrm>
            <a:off x="2667000" y="6426589"/>
            <a:ext cx="5812708"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2317780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with &quot;click to add&quot; 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EF8DF3-460A-4061-A4E9-FBD2A9BA6EE7}"/>
              </a:ext>
            </a:extLst>
          </p:cNvPr>
          <p:cNvGraphicFramePr>
            <a:graphicFrameLocks noChangeAspect="1"/>
          </p:cNvGraphicFramePr>
          <p:nvPr userDrawn="1">
            <p:custDataLst>
              <p:tags r:id="rId1"/>
            </p:custDataLst>
            <p:extLst>
              <p:ext uri="{D42A27DB-BD31-4B8C-83A1-F6EECF244321}">
                <p14:modId xmlns:p14="http://schemas.microsoft.com/office/powerpoint/2010/main" val="427639027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E7EF8DF3-460A-4061-A4E9-FBD2A9BA6EE7}"/>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82C25ECC-5668-4E03-9F81-49A427830593}"/>
              </a:ext>
            </a:extLst>
          </p:cNvPr>
          <p:cNvSpPr>
            <a:spLocks noGrp="1"/>
          </p:cNvSpPr>
          <p:nvPr>
            <p:ph type="body" sz="quarter" idx="10" hasCustomPrompt="1"/>
          </p:nvPr>
        </p:nvSpPr>
        <p:spPr>
          <a:xfrm>
            <a:off x="1473627" y="2029061"/>
            <a:ext cx="10105918" cy="4143139"/>
          </a:xfrm>
          <a:prstGeom prst="rect">
            <a:avLst/>
          </a:prstGeom>
        </p:spPr>
        <p:txBody>
          <a:bodyPr vert="horz" lIns="0" tIns="0" rIns="0" bIns="0" rtlCol="0" anchor="t" anchorCtr="0">
            <a:noAutofit/>
          </a:bodyPr>
          <a:lstStyle>
            <a:lvl1pPr marL="265113" indent="-265113">
              <a:buClr>
                <a:srgbClr val="1A9AFA"/>
              </a:buClr>
              <a:defRPr lang="en-US" sz="1800" dirty="0">
                <a:latin typeface="EYInterstate Light" panose="02000506000000020004" pitchFamily="2" charset="0"/>
                <a:cs typeface="Arial" panose="020B0604020202020204" pitchFamily="34" charset="0"/>
                <a:sym typeface="EYInterstate Light" panose="02000506000000020004" pitchFamily="2" charset="0"/>
              </a:defRPr>
            </a:lvl1pPr>
            <a:lvl2pPr marL="541338" indent="-276225">
              <a:buClr>
                <a:srgbClr val="1A9AFA"/>
              </a:buClr>
              <a:defRPr lang="en-US" sz="1800" dirty="0">
                <a:latin typeface="EYInterstate Light" panose="02000506000000020004" pitchFamily="2" charset="0"/>
                <a:cs typeface="Arial" panose="020B0604020202020204" pitchFamily="34" charset="0"/>
                <a:sym typeface="EYInterstate Light" panose="02000506000000020004" pitchFamily="2" charset="0"/>
              </a:defRPr>
            </a:lvl2pPr>
          </a:lstStyle>
          <a:p>
            <a:pPr lvl="0"/>
            <a:r>
              <a:rPr lang="en-US" dirty="0"/>
              <a:t>Click to add agenda</a:t>
            </a:r>
          </a:p>
          <a:p>
            <a:pPr lvl="1"/>
            <a:r>
              <a:rPr lang="en-US" dirty="0"/>
              <a:t>Sub-item (use “Increase List Level” button)</a:t>
            </a:r>
          </a:p>
        </p:txBody>
      </p:sp>
      <p:sp>
        <p:nvSpPr>
          <p:cNvPr id="23" name="Rectangle 22">
            <a:extLst>
              <a:ext uri="{FF2B5EF4-FFF2-40B4-BE49-F238E27FC236}">
                <a16:creationId xmlns:a16="http://schemas.microsoft.com/office/drawing/2014/main" id="{DD4F8ACF-49FE-4519-ABC6-5BCAE089F2B1}"/>
              </a:ext>
            </a:extLst>
          </p:cNvPr>
          <p:cNvSpPr/>
          <p:nvPr userDrawn="1"/>
        </p:nvSpPr>
        <p:spPr>
          <a:xfrm rot="10800000">
            <a:off x="612648"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Rectangle 23">
            <a:extLst>
              <a:ext uri="{FF2B5EF4-FFF2-40B4-BE49-F238E27FC236}">
                <a16:creationId xmlns:a16="http://schemas.microsoft.com/office/drawing/2014/main" id="{971FD123-4574-479D-9EDF-281D6435E778}"/>
              </a:ext>
            </a:extLst>
          </p:cNvPr>
          <p:cNvSpPr/>
          <p:nvPr userDrawn="1"/>
        </p:nvSpPr>
        <p:spPr>
          <a:xfrm rot="10800000">
            <a:off x="2657051"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TextBox 24">
            <a:extLst>
              <a:ext uri="{FF2B5EF4-FFF2-40B4-BE49-F238E27FC236}">
                <a16:creationId xmlns:a16="http://schemas.microsoft.com/office/drawing/2014/main" id="{782A3A59-45AA-4610-8ADE-4BFEB94901D3}"/>
              </a:ext>
            </a:extLst>
          </p:cNvPr>
          <p:cNvSpPr txBox="1"/>
          <p:nvPr userDrawn="1"/>
        </p:nvSpPr>
        <p:spPr>
          <a:xfrm>
            <a:off x="711411" y="1172310"/>
            <a:ext cx="1917662" cy="646331"/>
          </a:xfrm>
          <a:prstGeom prst="rect">
            <a:avLst/>
          </a:prstGeom>
          <a:noFill/>
        </p:spPr>
        <p:txBody>
          <a:bodyPr wrap="square" rtlCol="0">
            <a:spAutoFit/>
          </a:bodyPr>
          <a:lstStyle/>
          <a:p>
            <a:pPr algn="ctr" eaLnBrk="0" fontAlgn="base" hangingPunct="0">
              <a:spcBef>
                <a:spcPct val="0"/>
              </a:spcBef>
              <a:spcAft>
                <a:spcPct val="0"/>
              </a:spcAft>
            </a:pPr>
            <a:r>
              <a:rPr lang="en-US" sz="3600" b="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Agenda</a:t>
            </a:r>
          </a:p>
        </p:txBody>
      </p:sp>
    </p:spTree>
    <p:extLst>
      <p:ext uri="{BB962C8B-B14F-4D97-AF65-F5344CB8AC3E}">
        <p14:creationId xmlns:p14="http://schemas.microsoft.com/office/powerpoint/2010/main" val="31995379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ndard content slide with legen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FAB4E20-55CB-4158-A9C8-7325E8F44632}"/>
              </a:ext>
            </a:extLst>
          </p:cNvPr>
          <p:cNvGraphicFramePr>
            <a:graphicFrameLocks noChangeAspect="1"/>
          </p:cNvGraphicFramePr>
          <p:nvPr userDrawn="1">
            <p:custDataLst>
              <p:tags r:id="rId1"/>
            </p:custDataLst>
            <p:extLst>
              <p:ext uri="{D42A27DB-BD31-4B8C-83A1-F6EECF244321}">
                <p14:modId xmlns:p14="http://schemas.microsoft.com/office/powerpoint/2010/main" val="303851319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ct 9" hidden="1">
                        <a:extLst>
                          <a:ext uri="{FF2B5EF4-FFF2-40B4-BE49-F238E27FC236}">
                            <a16:creationId xmlns:a16="http://schemas.microsoft.com/office/drawing/2014/main" id="{BFAB4E20-55CB-4158-A9C8-7325E8F4463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8800087" cy="590400"/>
          </a:xfrm>
        </p:spPr>
        <p:txBody>
          <a:bodyPr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280160"/>
            <a:ext cx="10972800" cy="4892040"/>
          </a:xfrm>
          <a:prstGeom prst="rect">
            <a:avLst/>
          </a:prstGeom>
        </p:spPr>
        <p:txBody>
          <a:bodyPr vert="horz" lIns="0" tIns="0" rIns="0" bIns="0" rtlCol="0" anchor="t" anchorCtr="0">
            <a:noAutofit/>
          </a:bodyPr>
          <a:lstStyle>
            <a:lvl1pPr marL="268288" indent="-268288">
              <a:defRPr sz="1600">
                <a:latin typeface="EYInterstate Light" panose="02000506000000020004" pitchFamily="2" charset="0"/>
                <a:cs typeface="Arial" panose="020B0604020202020204" pitchFamily="34" charset="0"/>
                <a:sym typeface="EYInterstate Light" panose="02000506000000020004" pitchFamily="2" charset="0"/>
              </a:defRPr>
            </a:lvl1pPr>
            <a:lvl2pPr marL="534988" indent="-263525">
              <a:defRPr sz="1600">
                <a:latin typeface="EYInterstate Light" panose="02000506000000020004" pitchFamily="2" charset="0"/>
                <a:cs typeface="Arial" panose="020B0604020202020204" pitchFamily="34" charset="0"/>
                <a:sym typeface="EYInterstate Light" panose="02000506000000020004" pitchFamily="2" charset="0"/>
              </a:defRPr>
            </a:lvl2pPr>
            <a:lvl3pPr marL="803275" indent="-254000">
              <a:defRPr sz="1600">
                <a:latin typeface="EYInterstate Light" panose="02000506000000020004" pitchFamily="2" charset="0"/>
                <a:cs typeface="Arial" panose="020B0604020202020204" pitchFamily="34" charset="0"/>
                <a:sym typeface="EYInterstate Light" panose="02000506000000020004" pitchFamily="2" charset="0"/>
              </a:defRPr>
            </a:lvl3pPr>
            <a:lvl4pPr marL="1081088" indent="-277813">
              <a:defRPr sz="1600">
                <a:latin typeface="EYInterstate Light" panose="02000506000000020004" pitchFamily="2" charset="0"/>
                <a:cs typeface="Arial" panose="020B0604020202020204" pitchFamily="34" charset="0"/>
                <a:sym typeface="EYInterstate Light" panose="02000506000000020004" pitchFamily="2" charset="0"/>
              </a:defRPr>
            </a:lvl4pPr>
            <a:lvl5pPr marL="1347788" indent="-266700">
              <a:defRPr sz="16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50CDECC1-E57A-4567-AA87-257E48E61EC5}"/>
              </a:ext>
            </a:extLst>
          </p:cNvPr>
          <p:cNvCxnSpPr/>
          <p:nvPr userDrawn="1"/>
        </p:nvCxnSpPr>
        <p:spPr>
          <a:xfrm>
            <a:off x="9520244" y="124522"/>
            <a:ext cx="0" cy="777240"/>
          </a:xfrm>
          <a:prstGeom prst="line">
            <a:avLst/>
          </a:prstGeom>
          <a:noFill/>
          <a:ln w="19050">
            <a:solidFill>
              <a:schemeClr val="accent1"/>
            </a:solidFill>
            <a:round/>
            <a:headEnd/>
            <a:tailEnd/>
          </a:ln>
          <a:effectLst/>
        </p:spPr>
      </p:cxnSp>
      <p:sp>
        <p:nvSpPr>
          <p:cNvPr id="16" name="Text Placeholder 3">
            <a:extLst>
              <a:ext uri="{FF2B5EF4-FFF2-40B4-BE49-F238E27FC236}">
                <a16:creationId xmlns:a16="http://schemas.microsoft.com/office/drawing/2014/main" id="{D06300B5-0A00-470B-8520-C96B0935390A}"/>
              </a:ext>
            </a:extLst>
          </p:cNvPr>
          <p:cNvSpPr>
            <a:spLocks noGrp="1"/>
          </p:cNvSpPr>
          <p:nvPr>
            <p:ph type="body" sz="quarter" idx="12"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7" name="Text Placeholder 11">
            <a:extLst>
              <a:ext uri="{FF2B5EF4-FFF2-40B4-BE49-F238E27FC236}">
                <a16:creationId xmlns:a16="http://schemas.microsoft.com/office/drawing/2014/main" id="{370BFE22-2E47-4774-82AC-E94AC14D9E7F}"/>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8" name="Text Placeholder 5">
            <a:extLst>
              <a:ext uri="{FF2B5EF4-FFF2-40B4-BE49-F238E27FC236}">
                <a16:creationId xmlns:a16="http://schemas.microsoft.com/office/drawing/2014/main" id="{3E3681D5-E7A9-410F-A274-369D82AF5DF8}"/>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9" name="Text Placeholder 4">
            <a:extLst>
              <a:ext uri="{FF2B5EF4-FFF2-40B4-BE49-F238E27FC236}">
                <a16:creationId xmlns:a16="http://schemas.microsoft.com/office/drawing/2014/main" id="{9D0DDDD0-7572-4EA2-BC4D-5C78C01A2C44}"/>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11379498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243639993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Text Placeholder 3">
            <a:extLst>
              <a:ext uri="{FF2B5EF4-FFF2-40B4-BE49-F238E27FC236}">
                <a16:creationId xmlns:a16="http://schemas.microsoft.com/office/drawing/2014/main" id="{A829C0CA-44A2-4D1A-B82E-30942BE482BD}"/>
              </a:ext>
            </a:extLst>
          </p:cNvPr>
          <p:cNvSpPr>
            <a:spLocks noGrp="1"/>
          </p:cNvSpPr>
          <p:nvPr>
            <p:ph type="body" sz="quarter" idx="12"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1" name="Text Placeholder 11">
            <a:extLst>
              <a:ext uri="{FF2B5EF4-FFF2-40B4-BE49-F238E27FC236}">
                <a16:creationId xmlns:a16="http://schemas.microsoft.com/office/drawing/2014/main" id="{5287A5C3-379D-4D6A-92A9-4CE01F244B91}"/>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3" name="Text Placeholder 5">
            <a:extLst>
              <a:ext uri="{FF2B5EF4-FFF2-40B4-BE49-F238E27FC236}">
                <a16:creationId xmlns:a16="http://schemas.microsoft.com/office/drawing/2014/main" id="{23EB26A8-D6BE-40EF-B015-A19AF92C92DD}"/>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4" name="Text Placeholder 4">
            <a:extLst>
              <a:ext uri="{FF2B5EF4-FFF2-40B4-BE49-F238E27FC236}">
                <a16:creationId xmlns:a16="http://schemas.microsoft.com/office/drawing/2014/main" id="{3C59B44E-39B9-451F-BC1F-42F490C2B8C5}"/>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35457041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411985754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 name="Text Placeholder 11">
            <a:extLst>
              <a:ext uri="{FF2B5EF4-FFF2-40B4-BE49-F238E27FC236}">
                <a16:creationId xmlns:a16="http://schemas.microsoft.com/office/drawing/2014/main" id="{5287A5C3-379D-4D6A-92A9-4CE01F244B91}"/>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26642537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with legen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65500571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8800087"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0244" y="124522"/>
            <a:ext cx="0" cy="777240"/>
          </a:xfrm>
          <a:prstGeom prst="line">
            <a:avLst/>
          </a:prstGeom>
          <a:noFill/>
          <a:ln w="19050">
            <a:solidFill>
              <a:schemeClr val="accent1"/>
            </a:solidFill>
            <a:round/>
            <a:headEnd/>
            <a:tailEnd/>
          </a:ln>
          <a:effectLst/>
        </p:spPr>
      </p:cxnSp>
      <p:sp>
        <p:nvSpPr>
          <p:cNvPr id="11" name="Text Placeholder 3">
            <a:extLst>
              <a:ext uri="{FF2B5EF4-FFF2-40B4-BE49-F238E27FC236}">
                <a16:creationId xmlns:a16="http://schemas.microsoft.com/office/drawing/2014/main" id="{FE9331B7-1567-4FE2-AFB6-9DE0FF24C047}"/>
              </a:ext>
            </a:extLst>
          </p:cNvPr>
          <p:cNvSpPr>
            <a:spLocks noGrp="1"/>
          </p:cNvSpPr>
          <p:nvPr>
            <p:ph type="body" sz="quarter" idx="12"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3" name="Text Placeholder 11">
            <a:extLst>
              <a:ext uri="{FF2B5EF4-FFF2-40B4-BE49-F238E27FC236}">
                <a16:creationId xmlns:a16="http://schemas.microsoft.com/office/drawing/2014/main" id="{2B912CEE-3FB3-4B0C-BF6B-5165D8A13AA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4" name="Text Placeholder 5">
            <a:extLst>
              <a:ext uri="{FF2B5EF4-FFF2-40B4-BE49-F238E27FC236}">
                <a16:creationId xmlns:a16="http://schemas.microsoft.com/office/drawing/2014/main" id="{1A498AC8-40CF-40D9-BDBA-B3C143E58844}"/>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5" name="Text Placeholder 4">
            <a:extLst>
              <a:ext uri="{FF2B5EF4-FFF2-40B4-BE49-F238E27FC236}">
                <a16:creationId xmlns:a16="http://schemas.microsoft.com/office/drawing/2014/main" id="{B1BF2FF7-B981-4D95-8202-9546DBAF166A}"/>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2621136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2E5D00-D800-484E-8F19-76317133442E}"/>
              </a:ext>
            </a:extLst>
          </p:cNvPr>
          <p:cNvGraphicFramePr>
            <a:graphicFrameLocks noChangeAspect="1"/>
          </p:cNvGraphicFramePr>
          <p:nvPr userDrawn="1">
            <p:custDataLst>
              <p:tags r:id="rId1"/>
            </p:custDataLst>
            <p:extLst>
              <p:ext uri="{D42A27DB-BD31-4B8C-83A1-F6EECF244321}">
                <p14:modId xmlns:p14="http://schemas.microsoft.com/office/powerpoint/2010/main" val="374058542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312E5D00-D800-484E-8F19-76317133442E}"/>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880"/>
          </a:xfrm>
        </p:spPr>
        <p:txBody>
          <a:bodyPr vert="horz"/>
          <a:lstStyle>
            <a:lvl1pPr>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612648" y="1280160"/>
            <a:ext cx="5384800" cy="4892040"/>
          </a:xfrm>
        </p:spPr>
        <p:txBody>
          <a:bodyPr/>
          <a:lstStyle>
            <a:lvl1pPr>
              <a:buClr>
                <a:srgbClr val="1A9AFA"/>
              </a:buCl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2pPr>
            <a:lvl3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3pPr>
            <a:lvl4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4pPr>
            <a:lvl5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280160"/>
            <a:ext cx="5384800" cy="4892040"/>
          </a:xfrm>
        </p:spPr>
        <p:txBody>
          <a:bodyPr/>
          <a:lstStyle>
            <a:lvl1pPr>
              <a:buClr>
                <a:srgbClr val="1A9AFA"/>
              </a:buCl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2pPr>
            <a:lvl3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3pPr>
            <a:lvl4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4pPr>
            <a:lvl5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2" name="Text Placeholder 3">
            <a:extLst>
              <a:ext uri="{FF2B5EF4-FFF2-40B4-BE49-F238E27FC236}">
                <a16:creationId xmlns:a16="http://schemas.microsoft.com/office/drawing/2014/main" id="{E6F19A53-AF27-4483-B6C4-3BFFEE5A9BE0}"/>
              </a:ext>
            </a:extLst>
          </p:cNvPr>
          <p:cNvSpPr>
            <a:spLocks noGrp="1"/>
          </p:cNvSpPr>
          <p:nvPr>
            <p:ph type="body" sz="quarter" idx="12"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3" name="Text Placeholder 11">
            <a:extLst>
              <a:ext uri="{FF2B5EF4-FFF2-40B4-BE49-F238E27FC236}">
                <a16:creationId xmlns:a16="http://schemas.microsoft.com/office/drawing/2014/main" id="{46571EE9-BC5E-4D99-A75D-70517884CD58}"/>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4" name="Text Placeholder 5">
            <a:extLst>
              <a:ext uri="{FF2B5EF4-FFF2-40B4-BE49-F238E27FC236}">
                <a16:creationId xmlns:a16="http://schemas.microsoft.com/office/drawing/2014/main" id="{2A4BDB15-A29B-4A12-878B-A8155F7CF4D6}"/>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5" name="Text Placeholder 4">
            <a:extLst>
              <a:ext uri="{FF2B5EF4-FFF2-40B4-BE49-F238E27FC236}">
                <a16:creationId xmlns:a16="http://schemas.microsoft.com/office/drawing/2014/main" id="{8E731CFF-1CA6-4825-A414-569C24116E8F}"/>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39546440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32A08E-A79E-4886-B84B-C04A43C8D844}"/>
              </a:ext>
            </a:extLst>
          </p:cNvPr>
          <p:cNvGraphicFramePr>
            <a:graphicFrameLocks noChangeAspect="1"/>
          </p:cNvGraphicFramePr>
          <p:nvPr userDrawn="1">
            <p:custDataLst>
              <p:tags r:id="rId1"/>
            </p:custDataLst>
            <p:extLst>
              <p:ext uri="{D42A27DB-BD31-4B8C-83A1-F6EECF244321}">
                <p14:modId xmlns:p14="http://schemas.microsoft.com/office/powerpoint/2010/main" val="288368824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B32A08E-A79E-4886-B84B-C04A43C8D84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3" name="Content Placeholder 2"/>
          <p:cNvSpPr>
            <a:spLocks noGrp="1"/>
          </p:cNvSpPr>
          <p:nvPr>
            <p:ph sz="half" idx="1"/>
          </p:nvPr>
        </p:nvSpPr>
        <p:spPr>
          <a:xfrm>
            <a:off x="612648" y="1889104"/>
            <a:ext cx="5390400" cy="4283096"/>
          </a:xfrm>
        </p:spPr>
        <p:txBody>
          <a:bodyPr/>
          <a:lstStyle>
            <a:lvl1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2pPr>
            <a:lvl3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3pPr>
            <a:lvl4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4pPr>
            <a:lvl5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89104"/>
            <a:ext cx="5390400" cy="4283096"/>
          </a:xfrm>
        </p:spPr>
        <p:txBody>
          <a:bodyPr/>
          <a:lstStyle>
            <a:lvl1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2pPr>
            <a:lvl3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3pPr>
            <a:lvl4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4pPr>
            <a:lvl5pPr>
              <a:defRPr sz="16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12648" y="1280159"/>
            <a:ext cx="5390400" cy="548640"/>
          </a:xfrm>
        </p:spPr>
        <p:txBody>
          <a:bodyPr anchor="t" anchorCtr="0"/>
          <a:lstStyle>
            <a:lvl1pPr>
              <a:buNone/>
              <a:defRPr sz="1600" b="1">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endParaRPr lang="en-GB" dirty="0"/>
          </a:p>
        </p:txBody>
      </p:sp>
      <p:sp>
        <p:nvSpPr>
          <p:cNvPr id="11" name="Text Placeholder 9"/>
          <p:cNvSpPr>
            <a:spLocks noGrp="1"/>
          </p:cNvSpPr>
          <p:nvPr>
            <p:ph type="body" sz="quarter" idx="13"/>
          </p:nvPr>
        </p:nvSpPr>
        <p:spPr>
          <a:xfrm>
            <a:off x="6196405" y="1280159"/>
            <a:ext cx="5390400" cy="548640"/>
          </a:xfrm>
        </p:spPr>
        <p:txBody>
          <a:bodyPr anchor="t" anchorCtr="0"/>
          <a:lstStyle>
            <a:lvl1pPr>
              <a:buNone/>
              <a:defRPr sz="1600" b="1">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endParaRPr lang="en-GB" dirty="0"/>
          </a:p>
        </p:txBody>
      </p:sp>
      <p:sp>
        <p:nvSpPr>
          <p:cNvPr id="2" name="Title 1"/>
          <p:cNvSpPr>
            <a:spLocks noGrp="1"/>
          </p:cNvSpPr>
          <p:nvPr>
            <p:ph type="title"/>
          </p:nvPr>
        </p:nvSpPr>
        <p:spPr>
          <a:xfrm>
            <a:off x="612648" y="294200"/>
            <a:ext cx="10972800" cy="590880"/>
          </a:xfrm>
        </p:spPr>
        <p:txBody>
          <a:bodyPr vert="horz"/>
          <a:lstStyle>
            <a:lvl1pPr>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Text Placeholder 3">
            <a:extLst>
              <a:ext uri="{FF2B5EF4-FFF2-40B4-BE49-F238E27FC236}">
                <a16:creationId xmlns:a16="http://schemas.microsoft.com/office/drawing/2014/main" id="{8431EE17-302F-4F6F-A5F5-EBC06DBCEE1B}"/>
              </a:ext>
            </a:extLst>
          </p:cNvPr>
          <p:cNvSpPr>
            <a:spLocks noGrp="1"/>
          </p:cNvSpPr>
          <p:nvPr>
            <p:ph type="body" sz="quarter" idx="14"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6" name="Text Placeholder 11">
            <a:extLst>
              <a:ext uri="{FF2B5EF4-FFF2-40B4-BE49-F238E27FC236}">
                <a16:creationId xmlns:a16="http://schemas.microsoft.com/office/drawing/2014/main" id="{19891C32-5437-4358-ADEB-154F8EF4AFB0}"/>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7" name="Text Placeholder 5">
            <a:extLst>
              <a:ext uri="{FF2B5EF4-FFF2-40B4-BE49-F238E27FC236}">
                <a16:creationId xmlns:a16="http://schemas.microsoft.com/office/drawing/2014/main" id="{95C082A8-C538-478F-8BD7-71014E80A505}"/>
              </a:ext>
            </a:extLst>
          </p:cNvPr>
          <p:cNvSpPr>
            <a:spLocks noGrp="1"/>
          </p:cNvSpPr>
          <p:nvPr>
            <p:ph type="body" sz="quarter" idx="15"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8" name="Text Placeholder 4">
            <a:extLst>
              <a:ext uri="{FF2B5EF4-FFF2-40B4-BE49-F238E27FC236}">
                <a16:creationId xmlns:a16="http://schemas.microsoft.com/office/drawing/2014/main" id="{BC015C70-16F2-4077-9F89-B057CBEED67F}"/>
              </a:ext>
            </a:extLst>
          </p:cNvPr>
          <p:cNvSpPr>
            <a:spLocks noGrp="1"/>
          </p:cNvSpPr>
          <p:nvPr>
            <p:ph type="body" sz="quarter" idx="16"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5966410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41992419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612648" y="1280160"/>
            <a:ext cx="1938915" cy="1939925"/>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2678305" y="1280160"/>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2830626" y="1280160"/>
            <a:ext cx="8748918" cy="4892040"/>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67004853-0690-46A3-91F3-67A9085418D2}"/>
              </a:ext>
            </a:extLst>
          </p:cNvPr>
          <p:cNvSpPr>
            <a:spLocks noGrp="1"/>
          </p:cNvSpPr>
          <p:nvPr>
            <p:ph type="body" sz="quarter" idx="15"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6" name="Text Placeholder 11">
            <a:extLst>
              <a:ext uri="{FF2B5EF4-FFF2-40B4-BE49-F238E27FC236}">
                <a16:creationId xmlns:a16="http://schemas.microsoft.com/office/drawing/2014/main" id="{D0EA168C-14B5-43AC-8B26-0C33B472FF06}"/>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7" name="Text Placeholder 5">
            <a:extLst>
              <a:ext uri="{FF2B5EF4-FFF2-40B4-BE49-F238E27FC236}">
                <a16:creationId xmlns:a16="http://schemas.microsoft.com/office/drawing/2014/main" id="{896BAA64-127F-45D4-B810-CED8F607693D}"/>
              </a:ext>
            </a:extLst>
          </p:cNvPr>
          <p:cNvSpPr>
            <a:spLocks noGrp="1"/>
          </p:cNvSpPr>
          <p:nvPr>
            <p:ph type="body" sz="quarter" idx="16"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8" name="Text Placeholder 4">
            <a:extLst>
              <a:ext uri="{FF2B5EF4-FFF2-40B4-BE49-F238E27FC236}">
                <a16:creationId xmlns:a16="http://schemas.microsoft.com/office/drawing/2014/main" id="{EF110E90-974F-4451-8460-AB901B78B779}"/>
              </a:ext>
            </a:extLst>
          </p:cNvPr>
          <p:cNvSpPr>
            <a:spLocks noGrp="1"/>
          </p:cNvSpPr>
          <p:nvPr>
            <p:ph type="body" sz="quarter" idx="17"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
        <p:nvSpPr>
          <p:cNvPr id="19" name="Text Placeholder 9">
            <a:extLst>
              <a:ext uri="{FF2B5EF4-FFF2-40B4-BE49-F238E27FC236}">
                <a16:creationId xmlns:a16="http://schemas.microsoft.com/office/drawing/2014/main" id="{AC3F17C1-46EE-4153-AE72-54873E292E73}"/>
              </a:ext>
            </a:extLst>
          </p:cNvPr>
          <p:cNvSpPr>
            <a:spLocks noGrp="1"/>
          </p:cNvSpPr>
          <p:nvPr>
            <p:ph type="body" sz="quarter" idx="19" hasCustomPrompt="1"/>
          </p:nvPr>
        </p:nvSpPr>
        <p:spPr>
          <a:xfrm>
            <a:off x="612648" y="3429000"/>
            <a:ext cx="1938913" cy="2487091"/>
          </a:xfrm>
        </p:spPr>
        <p:txBody>
          <a:bodyPr/>
          <a:lstStyle>
            <a:lvl1pPr marL="0" indent="0">
              <a:buNone/>
              <a:defRPr sz="1000">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Tree>
    <p:extLst>
      <p:ext uri="{BB962C8B-B14F-4D97-AF65-F5344CB8AC3E}">
        <p14:creationId xmlns:p14="http://schemas.microsoft.com/office/powerpoint/2010/main" val="23137379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io dou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88247573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612648" y="1280160"/>
            <a:ext cx="1093218" cy="1093787"/>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6119205" y="1266825"/>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612646" y="2527301"/>
            <a:ext cx="5264759" cy="3644899"/>
          </a:xfrm>
        </p:spPr>
        <p:txBody>
          <a:bodyPr/>
          <a:lstStyle>
            <a:lvl1pPr>
              <a:defRPr sz="1400">
                <a:latin typeface="EYInterstate Light" panose="02000506000000020004" pitchFamily="2" charset="0"/>
                <a:cs typeface="Arial" panose="020B0604020202020204" pitchFamily="34" charset="0"/>
                <a:sym typeface="EYInterstate Light" panose="02000506000000020004" pitchFamily="2" charset="0"/>
              </a:defRPr>
            </a:lvl1pPr>
            <a:lvl2pPr>
              <a:defRPr sz="1400">
                <a:latin typeface="EYInterstate Light" panose="02000506000000020004" pitchFamily="2" charset="0"/>
                <a:cs typeface="Arial" panose="020B0604020202020204" pitchFamily="34" charset="0"/>
                <a:sym typeface="EYInterstate Light" panose="02000506000000020004" pitchFamily="2" charset="0"/>
              </a:defRPr>
            </a:lvl2pPr>
            <a:lvl3pPr>
              <a:defRPr sz="1400">
                <a:latin typeface="EYInterstate Light" panose="02000506000000020004" pitchFamily="2" charset="0"/>
                <a:cs typeface="Arial" panose="020B0604020202020204" pitchFamily="34" charset="0"/>
                <a:sym typeface="EYInterstate Light" panose="02000506000000020004" pitchFamily="2" charset="0"/>
              </a:defRPr>
            </a:lvl3pPr>
            <a:lvl4pPr>
              <a:defRPr sz="1400">
                <a:latin typeface="EYInterstate Light" panose="02000506000000020004" pitchFamily="2" charset="0"/>
                <a:cs typeface="Arial" panose="020B0604020202020204" pitchFamily="34" charset="0"/>
                <a:sym typeface="EYInterstate Light" panose="02000506000000020004" pitchFamily="2" charset="0"/>
              </a:defRPr>
            </a:lvl4pPr>
            <a:lvl5pPr>
              <a:defRPr sz="14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762B91BA-C155-4FA8-9FFE-0C75D09A8870}"/>
              </a:ext>
            </a:extLst>
          </p:cNvPr>
          <p:cNvSpPr>
            <a:spLocks noGrp="1"/>
          </p:cNvSpPr>
          <p:nvPr>
            <p:ph type="body" sz="quarter" idx="14" hasCustomPrompt="1"/>
          </p:nvPr>
        </p:nvSpPr>
        <p:spPr>
          <a:xfrm>
            <a:off x="1878622" y="1280160"/>
            <a:ext cx="3981116" cy="1096962"/>
          </a:xfrm>
        </p:spPr>
        <p:txBody>
          <a:bodyPr/>
          <a:lstStyle>
            <a:lvl1pPr marL="0" indent="0">
              <a:buNone/>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14" name="Text Placeholder 9">
            <a:extLst>
              <a:ext uri="{FF2B5EF4-FFF2-40B4-BE49-F238E27FC236}">
                <a16:creationId xmlns:a16="http://schemas.microsoft.com/office/drawing/2014/main" id="{482B8E84-ADE0-45D4-BE61-78D20F78DA8D}"/>
              </a:ext>
            </a:extLst>
          </p:cNvPr>
          <p:cNvSpPr>
            <a:spLocks noGrp="1"/>
          </p:cNvSpPr>
          <p:nvPr>
            <p:ph type="body" sz="quarter" idx="15"/>
          </p:nvPr>
        </p:nvSpPr>
        <p:spPr>
          <a:xfrm>
            <a:off x="6319125" y="2527301"/>
            <a:ext cx="5264759" cy="3644899"/>
          </a:xfrm>
        </p:spPr>
        <p:txBody>
          <a:bodyPr/>
          <a:lstStyle>
            <a:lvl1pPr>
              <a:defRPr sz="1400">
                <a:latin typeface="EYInterstate Light" panose="02000506000000020004" pitchFamily="2" charset="0"/>
                <a:cs typeface="Arial" panose="020B0604020202020204" pitchFamily="34" charset="0"/>
                <a:sym typeface="EYInterstate Light" panose="02000506000000020004" pitchFamily="2" charset="0"/>
              </a:defRPr>
            </a:lvl1pPr>
            <a:lvl2pPr>
              <a:defRPr sz="1400">
                <a:latin typeface="EYInterstate Light" panose="02000506000000020004" pitchFamily="2" charset="0"/>
                <a:cs typeface="Arial" panose="020B0604020202020204" pitchFamily="34" charset="0"/>
                <a:sym typeface="EYInterstate Light" panose="02000506000000020004" pitchFamily="2" charset="0"/>
              </a:defRPr>
            </a:lvl2pPr>
            <a:lvl3pPr>
              <a:defRPr sz="1400">
                <a:latin typeface="EYInterstate Light" panose="02000506000000020004" pitchFamily="2" charset="0"/>
                <a:cs typeface="Arial" panose="020B0604020202020204" pitchFamily="34" charset="0"/>
                <a:sym typeface="EYInterstate Light" panose="02000506000000020004" pitchFamily="2" charset="0"/>
              </a:defRPr>
            </a:lvl3pPr>
            <a:lvl4pPr>
              <a:defRPr sz="1400">
                <a:latin typeface="EYInterstate Light" panose="02000506000000020004" pitchFamily="2" charset="0"/>
                <a:cs typeface="Arial" panose="020B0604020202020204" pitchFamily="34" charset="0"/>
                <a:sym typeface="EYInterstate Light" panose="02000506000000020004" pitchFamily="2" charset="0"/>
              </a:defRPr>
            </a:lvl4pPr>
            <a:lvl5pPr>
              <a:defRPr sz="14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3">
            <a:extLst>
              <a:ext uri="{FF2B5EF4-FFF2-40B4-BE49-F238E27FC236}">
                <a16:creationId xmlns:a16="http://schemas.microsoft.com/office/drawing/2014/main" id="{D5371A37-C049-4C90-AA05-001B85582C34}"/>
              </a:ext>
            </a:extLst>
          </p:cNvPr>
          <p:cNvSpPr>
            <a:spLocks noGrp="1"/>
          </p:cNvSpPr>
          <p:nvPr>
            <p:ph type="pic" sz="quarter" idx="17" hasCustomPrompt="1"/>
          </p:nvPr>
        </p:nvSpPr>
        <p:spPr>
          <a:xfrm>
            <a:off x="6319126" y="1280160"/>
            <a:ext cx="1093218" cy="1093787"/>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sp>
        <p:nvSpPr>
          <p:cNvPr id="17" name="Text Placeholder 12">
            <a:extLst>
              <a:ext uri="{FF2B5EF4-FFF2-40B4-BE49-F238E27FC236}">
                <a16:creationId xmlns:a16="http://schemas.microsoft.com/office/drawing/2014/main" id="{BDAF8CDA-EE92-453E-A3C5-8211713CD756}"/>
              </a:ext>
            </a:extLst>
          </p:cNvPr>
          <p:cNvSpPr>
            <a:spLocks noGrp="1"/>
          </p:cNvSpPr>
          <p:nvPr>
            <p:ph type="body" sz="quarter" idx="18" hasCustomPrompt="1"/>
          </p:nvPr>
        </p:nvSpPr>
        <p:spPr>
          <a:xfrm>
            <a:off x="7604332" y="1280160"/>
            <a:ext cx="3981116" cy="1096962"/>
          </a:xfrm>
        </p:spPr>
        <p:txBody>
          <a:bodyPr/>
          <a:lstStyle>
            <a:lvl1pPr marL="0" indent="0">
              <a:buNone/>
              <a:defRPr sz="14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22" name="Text Placeholder 3">
            <a:extLst>
              <a:ext uri="{FF2B5EF4-FFF2-40B4-BE49-F238E27FC236}">
                <a16:creationId xmlns:a16="http://schemas.microsoft.com/office/drawing/2014/main" id="{311CEBC4-8080-47EE-B07E-1A86EDF7FBF7}"/>
              </a:ext>
            </a:extLst>
          </p:cNvPr>
          <p:cNvSpPr>
            <a:spLocks noGrp="1"/>
          </p:cNvSpPr>
          <p:nvPr>
            <p:ph type="body" sz="quarter" idx="21"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23" name="Text Placeholder 11">
            <a:extLst>
              <a:ext uri="{FF2B5EF4-FFF2-40B4-BE49-F238E27FC236}">
                <a16:creationId xmlns:a16="http://schemas.microsoft.com/office/drawing/2014/main" id="{6C5CB76A-2679-4860-9AA3-577341E9A69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24" name="Text Placeholder 5">
            <a:extLst>
              <a:ext uri="{FF2B5EF4-FFF2-40B4-BE49-F238E27FC236}">
                <a16:creationId xmlns:a16="http://schemas.microsoft.com/office/drawing/2014/main" id="{E98FCC9A-0172-4FA0-BB24-C03DB7B7B56F}"/>
              </a:ext>
            </a:extLst>
          </p:cNvPr>
          <p:cNvSpPr>
            <a:spLocks noGrp="1"/>
          </p:cNvSpPr>
          <p:nvPr>
            <p:ph type="body" sz="quarter" idx="22"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25" name="Text Placeholder 4">
            <a:extLst>
              <a:ext uri="{FF2B5EF4-FFF2-40B4-BE49-F238E27FC236}">
                <a16:creationId xmlns:a16="http://schemas.microsoft.com/office/drawing/2014/main" id="{81A08589-D130-4E1E-AA5F-CCC1D185FF31}"/>
              </a:ext>
            </a:extLst>
          </p:cNvPr>
          <p:cNvSpPr>
            <a:spLocks noGrp="1"/>
          </p:cNvSpPr>
          <p:nvPr>
            <p:ph type="body" sz="quarter" idx="23"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37885463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o trip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415591160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 name="Picture Placeholder 3">
            <a:extLst>
              <a:ext uri="{FF2B5EF4-FFF2-40B4-BE49-F238E27FC236}">
                <a16:creationId xmlns:a16="http://schemas.microsoft.com/office/drawing/2014/main" id="{25844FEA-3B45-4849-978B-4107A9ED32DB}"/>
              </a:ext>
            </a:extLst>
          </p:cNvPr>
          <p:cNvSpPr>
            <a:spLocks noGrp="1"/>
          </p:cNvSpPr>
          <p:nvPr>
            <p:ph type="pic" sz="quarter" idx="12" hasCustomPrompt="1"/>
          </p:nvPr>
        </p:nvSpPr>
        <p:spPr>
          <a:xfrm>
            <a:off x="612648" y="1280160"/>
            <a:ext cx="1093218" cy="1093787"/>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cxnSp>
        <p:nvCxnSpPr>
          <p:cNvPr id="7" name="Straight Connector 6">
            <a:extLst>
              <a:ext uri="{FF2B5EF4-FFF2-40B4-BE49-F238E27FC236}">
                <a16:creationId xmlns:a16="http://schemas.microsoft.com/office/drawing/2014/main" id="{1E92A051-75E1-49EA-9D56-3E4A36707704}"/>
              </a:ext>
            </a:extLst>
          </p:cNvPr>
          <p:cNvCxnSpPr>
            <a:cxnSpLocks/>
          </p:cNvCxnSpPr>
          <p:nvPr userDrawn="1"/>
        </p:nvCxnSpPr>
        <p:spPr>
          <a:xfrm>
            <a:off x="4214205" y="1266825"/>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2853C066-A8F9-439A-82A0-670545B10CE9}"/>
              </a:ext>
            </a:extLst>
          </p:cNvPr>
          <p:cNvSpPr>
            <a:spLocks noGrp="1"/>
          </p:cNvSpPr>
          <p:nvPr>
            <p:ph type="body" sz="quarter" idx="13"/>
          </p:nvPr>
        </p:nvSpPr>
        <p:spPr>
          <a:xfrm>
            <a:off x="612648" y="2527301"/>
            <a:ext cx="3385961" cy="3644899"/>
          </a:xfrm>
        </p:spPr>
        <p:txBody>
          <a:bodyPr/>
          <a:lstStyle>
            <a:lvl1pPr marL="176213" indent="-176213">
              <a:defRPr sz="1100">
                <a:latin typeface="EYInterstate Light" panose="02000506000000020004" pitchFamily="2" charset="0"/>
                <a:cs typeface="Arial" panose="020B0604020202020204" pitchFamily="34" charset="0"/>
                <a:sym typeface="EYInterstate Light" panose="02000506000000020004" pitchFamily="2" charset="0"/>
              </a:defRPr>
            </a:lvl1pPr>
            <a:lvl2pPr marL="360363" indent="-184150">
              <a:defRPr sz="1100">
                <a:latin typeface="EYInterstate Light" panose="02000506000000020004" pitchFamily="2" charset="0"/>
                <a:cs typeface="Arial" panose="020B0604020202020204" pitchFamily="34" charset="0"/>
                <a:sym typeface="EYInterstate Light" panose="02000506000000020004" pitchFamily="2" charset="0"/>
              </a:defRPr>
            </a:lvl2pPr>
            <a:lvl3pPr marL="534988" indent="-174625">
              <a:defRPr sz="1100">
                <a:latin typeface="EYInterstate Light" panose="02000506000000020004" pitchFamily="2" charset="0"/>
                <a:cs typeface="Arial" panose="020B0604020202020204" pitchFamily="34" charset="0"/>
                <a:sym typeface="EYInterstate Light" panose="02000506000000020004" pitchFamily="2" charset="0"/>
              </a:defRPr>
            </a:lvl3pPr>
            <a:lvl4pPr marL="720725" indent="-185738">
              <a:defRPr sz="1100">
                <a:latin typeface="EYInterstate Light" panose="02000506000000020004" pitchFamily="2" charset="0"/>
                <a:cs typeface="Arial" panose="020B0604020202020204" pitchFamily="34" charset="0"/>
                <a:sym typeface="EYInterstate Light" panose="02000506000000020004" pitchFamily="2" charset="0"/>
              </a:defRPr>
            </a:lvl4pPr>
            <a:lvl5pPr marL="895350" indent="-174625">
              <a:defRPr sz="11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a:extLst>
              <a:ext uri="{FF2B5EF4-FFF2-40B4-BE49-F238E27FC236}">
                <a16:creationId xmlns:a16="http://schemas.microsoft.com/office/drawing/2014/main" id="{762B91BA-C155-4FA8-9FFE-0C75D09A8870}"/>
              </a:ext>
            </a:extLst>
          </p:cNvPr>
          <p:cNvSpPr>
            <a:spLocks noGrp="1"/>
          </p:cNvSpPr>
          <p:nvPr>
            <p:ph type="body" sz="quarter" idx="14" hasCustomPrompt="1"/>
          </p:nvPr>
        </p:nvSpPr>
        <p:spPr>
          <a:xfrm>
            <a:off x="1878622" y="1280160"/>
            <a:ext cx="2119796" cy="1096962"/>
          </a:xfrm>
        </p:spPr>
        <p:txBody>
          <a:bodyPr/>
          <a:lstStyle>
            <a:lvl1pPr marL="0" indent="0">
              <a:buNone/>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cxnSp>
        <p:nvCxnSpPr>
          <p:cNvPr id="11" name="Straight Connector 10">
            <a:extLst>
              <a:ext uri="{FF2B5EF4-FFF2-40B4-BE49-F238E27FC236}">
                <a16:creationId xmlns:a16="http://schemas.microsoft.com/office/drawing/2014/main" id="{ADDFEE84-4D9A-40FE-879D-C8962CFCF838}"/>
              </a:ext>
            </a:extLst>
          </p:cNvPr>
          <p:cNvCxnSpPr>
            <a:cxnSpLocks/>
          </p:cNvCxnSpPr>
          <p:nvPr userDrawn="1"/>
        </p:nvCxnSpPr>
        <p:spPr>
          <a:xfrm>
            <a:off x="8022222" y="1281113"/>
            <a:ext cx="0" cy="489204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9">
            <a:extLst>
              <a:ext uri="{FF2B5EF4-FFF2-40B4-BE49-F238E27FC236}">
                <a16:creationId xmlns:a16="http://schemas.microsoft.com/office/drawing/2014/main" id="{482B8E84-ADE0-45D4-BE61-78D20F78DA8D}"/>
              </a:ext>
            </a:extLst>
          </p:cNvPr>
          <p:cNvSpPr>
            <a:spLocks noGrp="1"/>
          </p:cNvSpPr>
          <p:nvPr>
            <p:ph type="body" sz="quarter" idx="15"/>
          </p:nvPr>
        </p:nvSpPr>
        <p:spPr>
          <a:xfrm>
            <a:off x="4414127" y="2527301"/>
            <a:ext cx="3385961" cy="3644899"/>
          </a:xfrm>
        </p:spPr>
        <p:txBody>
          <a:bodyPr/>
          <a:lstStyle>
            <a:lvl1pPr marL="176213" indent="-176213">
              <a:defRPr sz="1100">
                <a:latin typeface="EYInterstate Light" panose="02000506000000020004" pitchFamily="2" charset="0"/>
                <a:cs typeface="Arial" panose="020B0604020202020204" pitchFamily="34" charset="0"/>
                <a:sym typeface="EYInterstate Light" panose="02000506000000020004" pitchFamily="2" charset="0"/>
              </a:defRPr>
            </a:lvl1pPr>
            <a:lvl2pPr marL="360363" indent="-184150">
              <a:defRPr sz="1100">
                <a:latin typeface="EYInterstate Light" panose="02000506000000020004" pitchFamily="2" charset="0"/>
                <a:cs typeface="Arial" panose="020B0604020202020204" pitchFamily="34" charset="0"/>
                <a:sym typeface="EYInterstate Light" panose="02000506000000020004" pitchFamily="2" charset="0"/>
              </a:defRPr>
            </a:lvl2pPr>
            <a:lvl3pPr marL="534988" indent="-174625">
              <a:defRPr sz="1100">
                <a:latin typeface="EYInterstate Light" panose="02000506000000020004" pitchFamily="2" charset="0"/>
                <a:cs typeface="Arial" panose="020B0604020202020204" pitchFamily="34" charset="0"/>
                <a:sym typeface="EYInterstate Light" panose="02000506000000020004" pitchFamily="2" charset="0"/>
              </a:defRPr>
            </a:lvl3pPr>
            <a:lvl4pPr marL="720725" indent="-185738">
              <a:defRPr sz="1100">
                <a:latin typeface="EYInterstate Light" panose="02000506000000020004" pitchFamily="2" charset="0"/>
                <a:cs typeface="Arial" panose="020B0604020202020204" pitchFamily="34" charset="0"/>
                <a:sym typeface="EYInterstate Light" panose="02000506000000020004" pitchFamily="2" charset="0"/>
              </a:defRPr>
            </a:lvl4pPr>
            <a:lvl5pPr marL="895350" indent="-174625">
              <a:defRPr sz="11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884CB693-286D-4F6D-84E3-7E3876F14283}"/>
              </a:ext>
            </a:extLst>
          </p:cNvPr>
          <p:cNvSpPr>
            <a:spLocks noGrp="1"/>
          </p:cNvSpPr>
          <p:nvPr>
            <p:ph type="body" sz="quarter" idx="16"/>
          </p:nvPr>
        </p:nvSpPr>
        <p:spPr>
          <a:xfrm>
            <a:off x="8215797" y="2527301"/>
            <a:ext cx="3385961" cy="3644899"/>
          </a:xfrm>
        </p:spPr>
        <p:txBody>
          <a:bodyPr/>
          <a:lstStyle>
            <a:lvl1pPr marL="176213" indent="-176213">
              <a:defRPr sz="1100">
                <a:latin typeface="EYInterstate Light" panose="02000506000000020004" pitchFamily="2" charset="0"/>
                <a:cs typeface="Arial" panose="020B0604020202020204" pitchFamily="34" charset="0"/>
                <a:sym typeface="EYInterstate Light" panose="02000506000000020004" pitchFamily="2" charset="0"/>
              </a:defRPr>
            </a:lvl1pPr>
            <a:lvl2pPr marL="360363" indent="-184150">
              <a:defRPr sz="1100">
                <a:latin typeface="EYInterstate Light" panose="02000506000000020004" pitchFamily="2" charset="0"/>
                <a:cs typeface="Arial" panose="020B0604020202020204" pitchFamily="34" charset="0"/>
                <a:sym typeface="EYInterstate Light" panose="02000506000000020004" pitchFamily="2" charset="0"/>
              </a:defRPr>
            </a:lvl2pPr>
            <a:lvl3pPr marL="534988" indent="-174625">
              <a:defRPr sz="1100">
                <a:latin typeface="EYInterstate Light" panose="02000506000000020004" pitchFamily="2" charset="0"/>
                <a:cs typeface="Arial" panose="020B0604020202020204" pitchFamily="34" charset="0"/>
                <a:sym typeface="EYInterstate Light" panose="02000506000000020004" pitchFamily="2" charset="0"/>
              </a:defRPr>
            </a:lvl3pPr>
            <a:lvl4pPr marL="720725" indent="-185738">
              <a:defRPr sz="1100">
                <a:latin typeface="EYInterstate Light" panose="02000506000000020004" pitchFamily="2" charset="0"/>
                <a:cs typeface="Arial" panose="020B0604020202020204" pitchFamily="34" charset="0"/>
                <a:sym typeface="EYInterstate Light" panose="02000506000000020004" pitchFamily="2" charset="0"/>
              </a:defRPr>
            </a:lvl4pPr>
            <a:lvl5pPr marL="895350" indent="-174625">
              <a:defRPr sz="1100">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3">
            <a:extLst>
              <a:ext uri="{FF2B5EF4-FFF2-40B4-BE49-F238E27FC236}">
                <a16:creationId xmlns:a16="http://schemas.microsoft.com/office/drawing/2014/main" id="{D5371A37-C049-4C90-AA05-001B85582C34}"/>
              </a:ext>
            </a:extLst>
          </p:cNvPr>
          <p:cNvSpPr>
            <a:spLocks noGrp="1"/>
          </p:cNvSpPr>
          <p:nvPr>
            <p:ph type="pic" sz="quarter" idx="17" hasCustomPrompt="1"/>
          </p:nvPr>
        </p:nvSpPr>
        <p:spPr>
          <a:xfrm>
            <a:off x="4414126" y="1280160"/>
            <a:ext cx="1093218" cy="1093787"/>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sp>
        <p:nvSpPr>
          <p:cNvPr id="17" name="Text Placeholder 12">
            <a:extLst>
              <a:ext uri="{FF2B5EF4-FFF2-40B4-BE49-F238E27FC236}">
                <a16:creationId xmlns:a16="http://schemas.microsoft.com/office/drawing/2014/main" id="{BDAF8CDA-EE92-453E-A3C5-8211713CD756}"/>
              </a:ext>
            </a:extLst>
          </p:cNvPr>
          <p:cNvSpPr>
            <a:spLocks noGrp="1"/>
          </p:cNvSpPr>
          <p:nvPr>
            <p:ph type="body" sz="quarter" idx="18" hasCustomPrompt="1"/>
          </p:nvPr>
        </p:nvSpPr>
        <p:spPr>
          <a:xfrm>
            <a:off x="5699332" y="1280160"/>
            <a:ext cx="2119796" cy="1096962"/>
          </a:xfrm>
        </p:spPr>
        <p:txBody>
          <a:bodyPr/>
          <a:lstStyle>
            <a:lvl1pPr marL="0" indent="0">
              <a:buNone/>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18" name="Picture Placeholder 3">
            <a:extLst>
              <a:ext uri="{FF2B5EF4-FFF2-40B4-BE49-F238E27FC236}">
                <a16:creationId xmlns:a16="http://schemas.microsoft.com/office/drawing/2014/main" id="{F057F2A2-0889-4021-8504-9FC9845E14CA}"/>
              </a:ext>
            </a:extLst>
          </p:cNvPr>
          <p:cNvSpPr>
            <a:spLocks noGrp="1"/>
          </p:cNvSpPr>
          <p:nvPr>
            <p:ph type="pic" sz="quarter" idx="19" hasCustomPrompt="1"/>
          </p:nvPr>
        </p:nvSpPr>
        <p:spPr>
          <a:xfrm>
            <a:off x="8215796" y="1280160"/>
            <a:ext cx="1093218" cy="1093787"/>
          </a:xfrm>
        </p:spPr>
        <p:txBody>
          <a:bodyPr/>
          <a:lstStyle>
            <a:lvl1pPr marL="0" marR="0" indent="0" algn="l" defTabSz="914400" rtl="0" eaLnBrk="1" fontAlgn="auto" latinLnBrk="0" hangingPunct="1">
              <a:lnSpc>
                <a:spcPct val="100000"/>
              </a:lnSpc>
              <a:spcBef>
                <a:spcPct val="20000"/>
              </a:spcBef>
              <a:spcAft>
                <a:spcPts val="0"/>
              </a:spcAft>
              <a:buClr>
                <a:schemeClr val="accent1"/>
              </a:buClr>
              <a:buSzPct val="110000"/>
              <a:buFontTx/>
              <a:buNone/>
              <a:tabLst/>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marL="171450" marR="0" lvl="0" indent="-171450" algn="l" defTabSz="914400" rtl="0" eaLnBrk="1" fontAlgn="auto" latinLnBrk="0" hangingPunct="1">
              <a:lnSpc>
                <a:spcPct val="100000"/>
              </a:lnSpc>
              <a:spcBef>
                <a:spcPct val="20000"/>
              </a:spcBef>
              <a:spcAft>
                <a:spcPts val="0"/>
              </a:spcAft>
              <a:buClr>
                <a:schemeClr val="accent1"/>
              </a:buClr>
              <a:buSzPct val="110000"/>
              <a:buFont typeface="EYInterstate Light" panose="02000506000000020004" pitchFamily="2" charset="0"/>
              <a:buChar char="•"/>
              <a:tabLst/>
              <a:defRPr/>
            </a:pPr>
            <a:r>
              <a:rPr lang="en-US" dirty="0"/>
              <a:t>Click on picture icon to add your photo</a:t>
            </a:r>
          </a:p>
        </p:txBody>
      </p:sp>
      <p:sp>
        <p:nvSpPr>
          <p:cNvPr id="19" name="Text Placeholder 12">
            <a:extLst>
              <a:ext uri="{FF2B5EF4-FFF2-40B4-BE49-F238E27FC236}">
                <a16:creationId xmlns:a16="http://schemas.microsoft.com/office/drawing/2014/main" id="{E41D7C03-2349-4776-AF81-D207AC4F5571}"/>
              </a:ext>
            </a:extLst>
          </p:cNvPr>
          <p:cNvSpPr>
            <a:spLocks noGrp="1"/>
          </p:cNvSpPr>
          <p:nvPr>
            <p:ph type="body" sz="quarter" idx="20" hasCustomPrompt="1"/>
          </p:nvPr>
        </p:nvSpPr>
        <p:spPr>
          <a:xfrm>
            <a:off x="9481961" y="1280160"/>
            <a:ext cx="2119796" cy="1096962"/>
          </a:xfrm>
        </p:spPr>
        <p:txBody>
          <a:bodyPr/>
          <a:lstStyle>
            <a:lvl1pPr marL="0" indent="0">
              <a:buNone/>
              <a:defRPr sz="1100">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Click here to add contact information. Include your office address, direct phone, and email address; Phone numbers should be formatted as follows: +1 xxx </a:t>
            </a:r>
            <a:r>
              <a:rPr lang="en-US" dirty="0" err="1"/>
              <a:t>xxx</a:t>
            </a:r>
            <a:r>
              <a:rPr lang="en-US" dirty="0"/>
              <a:t> </a:t>
            </a:r>
            <a:r>
              <a:rPr lang="en-US" dirty="0" err="1"/>
              <a:t>xxxx</a:t>
            </a:r>
            <a:r>
              <a:rPr lang="en-US" dirty="0"/>
              <a:t> (use country code and spaces, not dashes or periods)</a:t>
            </a:r>
          </a:p>
        </p:txBody>
      </p:sp>
      <p:sp>
        <p:nvSpPr>
          <p:cNvPr id="22" name="Text Placeholder 3">
            <a:extLst>
              <a:ext uri="{FF2B5EF4-FFF2-40B4-BE49-F238E27FC236}">
                <a16:creationId xmlns:a16="http://schemas.microsoft.com/office/drawing/2014/main" id="{311CEBC4-8080-47EE-B07E-1A86EDF7FBF7}"/>
              </a:ext>
            </a:extLst>
          </p:cNvPr>
          <p:cNvSpPr>
            <a:spLocks noGrp="1"/>
          </p:cNvSpPr>
          <p:nvPr>
            <p:ph type="body" sz="quarter" idx="21"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23" name="Text Placeholder 11">
            <a:extLst>
              <a:ext uri="{FF2B5EF4-FFF2-40B4-BE49-F238E27FC236}">
                <a16:creationId xmlns:a16="http://schemas.microsoft.com/office/drawing/2014/main" id="{6C5CB76A-2679-4860-9AA3-577341E9A695}"/>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24" name="Text Placeholder 5">
            <a:extLst>
              <a:ext uri="{FF2B5EF4-FFF2-40B4-BE49-F238E27FC236}">
                <a16:creationId xmlns:a16="http://schemas.microsoft.com/office/drawing/2014/main" id="{E98FCC9A-0172-4FA0-BB24-C03DB7B7B56F}"/>
              </a:ext>
            </a:extLst>
          </p:cNvPr>
          <p:cNvSpPr>
            <a:spLocks noGrp="1"/>
          </p:cNvSpPr>
          <p:nvPr>
            <p:ph type="body" sz="quarter" idx="22"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25" name="Text Placeholder 4">
            <a:extLst>
              <a:ext uri="{FF2B5EF4-FFF2-40B4-BE49-F238E27FC236}">
                <a16:creationId xmlns:a16="http://schemas.microsoft.com/office/drawing/2014/main" id="{81A08589-D130-4E1E-AA5F-CCC1D185FF31}"/>
              </a:ext>
            </a:extLst>
          </p:cNvPr>
          <p:cNvSpPr>
            <a:spLocks noGrp="1"/>
          </p:cNvSpPr>
          <p:nvPr>
            <p:ph type="body" sz="quarter" idx="23"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42209796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9B4A9-632B-4BE5-9584-79E4AA63B14C}"/>
              </a:ext>
            </a:extLst>
          </p:cNvPr>
          <p:cNvGraphicFramePr>
            <a:graphicFrameLocks noChangeAspect="1"/>
          </p:cNvGraphicFramePr>
          <p:nvPr userDrawn="1">
            <p:custDataLst>
              <p:tags r:id="rId1"/>
            </p:custDataLst>
            <p:extLst>
              <p:ext uri="{D42A27DB-BD31-4B8C-83A1-F6EECF244321}">
                <p14:modId xmlns:p14="http://schemas.microsoft.com/office/powerpoint/2010/main" val="158642665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229B4A9-632B-4BE5-9584-79E4AA63B14C}"/>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3" name="Text Placeholder 11">
            <a:extLst>
              <a:ext uri="{FF2B5EF4-FFF2-40B4-BE49-F238E27FC236}">
                <a16:creationId xmlns:a16="http://schemas.microsoft.com/office/drawing/2014/main" id="{0ACD04CB-98B7-4497-B3CD-CBA25A1A31B1}"/>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solidFill>
                  <a:schemeClr val="bg1">
                    <a:lumMod val="60000"/>
                    <a:lumOff val="40000"/>
                  </a:schemeClr>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Tree>
    <p:extLst>
      <p:ext uri="{BB962C8B-B14F-4D97-AF65-F5344CB8AC3E}">
        <p14:creationId xmlns:p14="http://schemas.microsoft.com/office/powerpoint/2010/main" val="30218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genda with &quot;click to add&quot; box with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EF8DF3-460A-4061-A4E9-FBD2A9BA6EE7}"/>
              </a:ext>
            </a:extLst>
          </p:cNvPr>
          <p:cNvGraphicFramePr>
            <a:graphicFrameLocks noChangeAspect="1"/>
          </p:cNvGraphicFramePr>
          <p:nvPr userDrawn="1">
            <p:custDataLst>
              <p:tags r:id="rId1"/>
            </p:custDataLst>
            <p:extLst>
              <p:ext uri="{D42A27DB-BD31-4B8C-83A1-F6EECF244321}">
                <p14:modId xmlns:p14="http://schemas.microsoft.com/office/powerpoint/2010/main" val="33272314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E7EF8DF3-460A-4061-A4E9-FBD2A9BA6EE7}"/>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82C25ECC-5668-4E03-9F81-49A427830593}"/>
              </a:ext>
            </a:extLst>
          </p:cNvPr>
          <p:cNvSpPr>
            <a:spLocks noGrp="1"/>
          </p:cNvSpPr>
          <p:nvPr>
            <p:ph type="body" sz="quarter" idx="10" hasCustomPrompt="1"/>
          </p:nvPr>
        </p:nvSpPr>
        <p:spPr>
          <a:xfrm>
            <a:off x="1473627" y="2029061"/>
            <a:ext cx="6387673" cy="4143139"/>
          </a:xfrm>
        </p:spPr>
        <p:txBody>
          <a:bodyPr vert="horz" lIns="0" tIns="0" rIns="0" bIns="0" rtlCol="0" anchor="t" anchorCtr="0">
            <a:noAutofit/>
          </a:bodyPr>
          <a:lstStyle>
            <a:lvl1pPr marL="265113" indent="-265113">
              <a:defRPr lang="en-US" sz="1800" dirty="0">
                <a:latin typeface="EYInterstate Light" panose="02000506000000020004" pitchFamily="2" charset="0"/>
                <a:cs typeface="Arial" panose="020B0604020202020204" pitchFamily="34" charset="0"/>
                <a:sym typeface="EYInterstate Light" panose="02000506000000020004" pitchFamily="2" charset="0"/>
              </a:defRPr>
            </a:lvl1pPr>
            <a:lvl2pPr marL="541338" indent="-276225">
              <a:defRPr lang="en-US" sz="1800" dirty="0">
                <a:latin typeface="EYInterstate Light" panose="02000506000000020004" pitchFamily="2" charset="0"/>
                <a:cs typeface="Arial" panose="020B0604020202020204" pitchFamily="34" charset="0"/>
                <a:sym typeface="EYInterstate Light" panose="02000506000000020004" pitchFamily="2" charset="0"/>
              </a:defRPr>
            </a:lvl2pPr>
          </a:lstStyle>
          <a:p>
            <a:pPr lvl="0"/>
            <a:r>
              <a:rPr lang="en-US" dirty="0"/>
              <a:t>Click to add agenda</a:t>
            </a:r>
          </a:p>
          <a:p>
            <a:pPr lvl="1"/>
            <a:r>
              <a:rPr lang="en-US" dirty="0"/>
              <a:t>Sub-item (use “Increase List Level” button)</a:t>
            </a:r>
          </a:p>
        </p:txBody>
      </p:sp>
      <p:sp>
        <p:nvSpPr>
          <p:cNvPr id="23" name="Rectangle 22">
            <a:extLst>
              <a:ext uri="{FF2B5EF4-FFF2-40B4-BE49-F238E27FC236}">
                <a16:creationId xmlns:a16="http://schemas.microsoft.com/office/drawing/2014/main" id="{DD4F8ACF-49FE-4519-ABC6-5BCAE089F2B1}"/>
              </a:ext>
            </a:extLst>
          </p:cNvPr>
          <p:cNvSpPr/>
          <p:nvPr userDrawn="1"/>
        </p:nvSpPr>
        <p:spPr>
          <a:xfrm rot="10800000">
            <a:off x="612648"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Rectangle 23">
            <a:extLst>
              <a:ext uri="{FF2B5EF4-FFF2-40B4-BE49-F238E27FC236}">
                <a16:creationId xmlns:a16="http://schemas.microsoft.com/office/drawing/2014/main" id="{971FD123-4574-479D-9EDF-281D6435E778}"/>
              </a:ext>
            </a:extLst>
          </p:cNvPr>
          <p:cNvSpPr/>
          <p:nvPr userDrawn="1"/>
        </p:nvSpPr>
        <p:spPr>
          <a:xfrm rot="10800000">
            <a:off x="2657051" y="1124990"/>
            <a:ext cx="91392" cy="7452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TextBox 24">
            <a:extLst>
              <a:ext uri="{FF2B5EF4-FFF2-40B4-BE49-F238E27FC236}">
                <a16:creationId xmlns:a16="http://schemas.microsoft.com/office/drawing/2014/main" id="{782A3A59-45AA-4610-8ADE-4BFEB94901D3}"/>
              </a:ext>
            </a:extLst>
          </p:cNvPr>
          <p:cNvSpPr txBox="1"/>
          <p:nvPr userDrawn="1"/>
        </p:nvSpPr>
        <p:spPr>
          <a:xfrm>
            <a:off x="711411" y="1172310"/>
            <a:ext cx="1917662" cy="646331"/>
          </a:xfrm>
          <a:prstGeom prst="rect">
            <a:avLst/>
          </a:prstGeom>
          <a:noFill/>
        </p:spPr>
        <p:txBody>
          <a:bodyPr wrap="square" rtlCol="0">
            <a:spAutoFit/>
          </a:bodyPr>
          <a:lstStyle/>
          <a:p>
            <a:pPr algn="ctr" eaLnBrk="0" fontAlgn="base" hangingPunct="0">
              <a:spcBef>
                <a:spcPct val="0"/>
              </a:spcBef>
              <a:spcAft>
                <a:spcPct val="0"/>
              </a:spcAft>
            </a:pPr>
            <a:r>
              <a:rPr lang="en-US" sz="3600" b="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Agenda</a:t>
            </a:r>
          </a:p>
        </p:txBody>
      </p:sp>
      <p:sp>
        <p:nvSpPr>
          <p:cNvPr id="8" name="Picture Placeholder 4">
            <a:extLst>
              <a:ext uri="{FF2B5EF4-FFF2-40B4-BE49-F238E27FC236}">
                <a16:creationId xmlns:a16="http://schemas.microsoft.com/office/drawing/2014/main" id="{C8FE7019-159C-45E2-A28E-4A7A590C6ECA}"/>
              </a:ext>
            </a:extLst>
          </p:cNvPr>
          <p:cNvSpPr>
            <a:spLocks noGrp="1"/>
          </p:cNvSpPr>
          <p:nvPr>
            <p:ph type="pic" sz="quarter" idx="11"/>
          </p:nvPr>
        </p:nvSpPr>
        <p:spPr>
          <a:xfrm>
            <a:off x="8194852" y="0"/>
            <a:ext cx="3997149" cy="6857999"/>
          </a:xfrm>
        </p:spPr>
        <p:txBody>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icon to add picture</a:t>
            </a:r>
            <a:endParaRPr lang="en-IN" dirty="0"/>
          </a:p>
        </p:txBody>
      </p:sp>
      <p:grpSp>
        <p:nvGrpSpPr>
          <p:cNvPr id="9" name="Group 8">
            <a:extLst>
              <a:ext uri="{FF2B5EF4-FFF2-40B4-BE49-F238E27FC236}">
                <a16:creationId xmlns:a16="http://schemas.microsoft.com/office/drawing/2014/main" id="{E20499C4-98E1-464B-8D86-52A8FDE8A199}"/>
              </a:ext>
            </a:extLst>
          </p:cNvPr>
          <p:cNvGrpSpPr>
            <a:grpSpLocks noChangeAspect="1"/>
          </p:cNvGrpSpPr>
          <p:nvPr userDrawn="1"/>
        </p:nvGrpSpPr>
        <p:grpSpPr>
          <a:xfrm>
            <a:off x="10624714" y="6367519"/>
            <a:ext cx="955115" cy="308551"/>
            <a:chOff x="2703513" y="2332038"/>
            <a:chExt cx="6784975" cy="2190751"/>
          </a:xfrm>
        </p:grpSpPr>
        <p:sp>
          <p:nvSpPr>
            <p:cNvPr id="10" name="Freeform 115">
              <a:extLst>
                <a:ext uri="{FF2B5EF4-FFF2-40B4-BE49-F238E27FC236}">
                  <a16:creationId xmlns:a16="http://schemas.microsoft.com/office/drawing/2014/main" id="{318FE03F-E17F-4660-AAC1-88DE2CAB22D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 name="Freeform 116">
              <a:extLst>
                <a:ext uri="{FF2B5EF4-FFF2-40B4-BE49-F238E27FC236}">
                  <a16:creationId xmlns:a16="http://schemas.microsoft.com/office/drawing/2014/main" id="{30334963-4622-415F-8C24-955147735F5F}"/>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2" name="Freeform 117">
              <a:extLst>
                <a:ext uri="{FF2B5EF4-FFF2-40B4-BE49-F238E27FC236}">
                  <a16:creationId xmlns:a16="http://schemas.microsoft.com/office/drawing/2014/main" id="{95F05834-A605-4522-9927-B2F6F0079823}"/>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3" name="Freeform 118">
              <a:extLst>
                <a:ext uri="{FF2B5EF4-FFF2-40B4-BE49-F238E27FC236}">
                  <a16:creationId xmlns:a16="http://schemas.microsoft.com/office/drawing/2014/main" id="{63810ED2-CD01-49D2-ABDF-3214DE9D70F1}"/>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Freeform 119">
              <a:extLst>
                <a:ext uri="{FF2B5EF4-FFF2-40B4-BE49-F238E27FC236}">
                  <a16:creationId xmlns:a16="http://schemas.microsoft.com/office/drawing/2014/main" id="{9CAF6155-667A-416D-BF18-5F48F86D4AC9}"/>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Freeform 120">
              <a:extLst>
                <a:ext uri="{FF2B5EF4-FFF2-40B4-BE49-F238E27FC236}">
                  <a16:creationId xmlns:a16="http://schemas.microsoft.com/office/drawing/2014/main" id="{DAC6823C-FF17-4B0D-9617-13D6B63DD7F3}"/>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6" name="Freeform 121">
              <a:extLst>
                <a:ext uri="{FF2B5EF4-FFF2-40B4-BE49-F238E27FC236}">
                  <a16:creationId xmlns:a16="http://schemas.microsoft.com/office/drawing/2014/main" id="{6777BF6D-60EC-4668-968E-004CAFB6176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7" name="Freeform 122">
              <a:extLst>
                <a:ext uri="{FF2B5EF4-FFF2-40B4-BE49-F238E27FC236}">
                  <a16:creationId xmlns:a16="http://schemas.microsoft.com/office/drawing/2014/main" id="{4F34AF78-7DBE-46C9-BE13-13B632A31FAA}"/>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Freeform 123">
              <a:extLst>
                <a:ext uri="{FF2B5EF4-FFF2-40B4-BE49-F238E27FC236}">
                  <a16:creationId xmlns:a16="http://schemas.microsoft.com/office/drawing/2014/main" id="{2C261A9C-EE8D-45C0-8896-8B3CDD5C3FBB}"/>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9" name="Freeform 124">
              <a:extLst>
                <a:ext uri="{FF2B5EF4-FFF2-40B4-BE49-F238E27FC236}">
                  <a16:creationId xmlns:a16="http://schemas.microsoft.com/office/drawing/2014/main" id="{153BB31F-0B63-45FE-8E53-3C6932C149FE}"/>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0" name="Freeform 125">
              <a:extLst>
                <a:ext uri="{FF2B5EF4-FFF2-40B4-BE49-F238E27FC236}">
                  <a16:creationId xmlns:a16="http://schemas.microsoft.com/office/drawing/2014/main" id="{2F79E413-C512-456F-A7BD-3818B7083B3E}"/>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grpSp>
    </p:spTree>
    <p:extLst>
      <p:ext uri="{BB962C8B-B14F-4D97-AF65-F5344CB8AC3E}">
        <p14:creationId xmlns:p14="http://schemas.microsoft.com/office/powerpoint/2010/main" val="36600473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6E8D07-2EE9-4C7F-B2C4-EDD0B922E99B}"/>
              </a:ext>
            </a:extLst>
          </p:cNvPr>
          <p:cNvGraphicFramePr>
            <a:graphicFrameLocks noChangeAspect="1"/>
          </p:cNvGraphicFramePr>
          <p:nvPr userDrawn="1">
            <p:custDataLst>
              <p:tags r:id="rId1"/>
            </p:custDataLst>
            <p:extLst>
              <p:ext uri="{D42A27DB-BD31-4B8C-83A1-F6EECF244321}">
                <p14:modId xmlns:p14="http://schemas.microsoft.com/office/powerpoint/2010/main" val="316384279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136E8D07-2EE9-4C7F-B2C4-EDD0B922E99B}"/>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388600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4634B3-25FF-4389-9BF2-DF7259B2CDCD}"/>
              </a:ext>
            </a:extLst>
          </p:cNvPr>
          <p:cNvGraphicFramePr>
            <a:graphicFrameLocks noChangeAspect="1"/>
          </p:cNvGraphicFramePr>
          <p:nvPr userDrawn="1">
            <p:custDataLst>
              <p:tags r:id="rId1"/>
            </p:custDataLst>
            <p:extLst>
              <p:ext uri="{D42A27DB-BD31-4B8C-83A1-F6EECF244321}">
                <p14:modId xmlns:p14="http://schemas.microsoft.com/office/powerpoint/2010/main" val="306067757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C4634B3-25FF-4389-9BF2-DF7259B2CDCD}"/>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tx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E6D3C9-69F7-4937-A06F-9018EA8C817D}"/>
              </a:ext>
            </a:extLst>
          </p:cNvPr>
          <p:cNvGraphicFramePr>
            <a:graphicFrameLocks noChangeAspect="1"/>
          </p:cNvGraphicFramePr>
          <p:nvPr userDrawn="1">
            <p:custDataLst>
              <p:tags r:id="rId1"/>
            </p:custDataLst>
            <p:extLst>
              <p:ext uri="{D42A27DB-BD31-4B8C-83A1-F6EECF244321}">
                <p14:modId xmlns:p14="http://schemas.microsoft.com/office/powerpoint/2010/main" val="307532355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2E6D3C9-69F7-4937-A06F-9018EA8C817D}"/>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tx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1971D-9410-4BFA-BEA3-B7EB662581D6}"/>
              </a:ext>
            </a:extLst>
          </p:cNvPr>
          <p:cNvGraphicFramePr>
            <a:graphicFrameLocks noChangeAspect="1"/>
          </p:cNvGraphicFramePr>
          <p:nvPr userDrawn="1">
            <p:custDataLst>
              <p:tags r:id="rId1"/>
            </p:custDataLst>
            <p:extLst>
              <p:ext uri="{D42A27DB-BD31-4B8C-83A1-F6EECF244321}">
                <p14:modId xmlns:p14="http://schemas.microsoft.com/office/powerpoint/2010/main" val="72307883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7431971D-9410-4BFA-BEA3-B7EB662581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1"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tx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tx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9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EF8DF3-460A-4061-A4E9-FBD2A9BA6EE7}"/>
              </a:ext>
            </a:extLst>
          </p:cNvPr>
          <p:cNvGraphicFramePr>
            <a:graphicFrameLocks noChangeAspect="1"/>
          </p:cNvGraphicFramePr>
          <p:nvPr userDrawn="1">
            <p:custDataLst>
              <p:tags r:id="rId1"/>
            </p:custDataLst>
            <p:extLst>
              <p:ext uri="{D42A27DB-BD31-4B8C-83A1-F6EECF244321}">
                <p14:modId xmlns:p14="http://schemas.microsoft.com/office/powerpoint/2010/main" val="37977490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E7EF8DF3-460A-4061-A4E9-FBD2A9BA6EE7}"/>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478D6CE-CC0E-40D1-9029-A131ABEA819E}"/>
              </a:ext>
            </a:extLst>
          </p:cNvPr>
          <p:cNvSpPr/>
          <p:nvPr userDrawn="1"/>
        </p:nvSpPr>
        <p:spPr>
          <a:xfrm>
            <a:off x="5314540" y="1727555"/>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Rectangle 9">
            <a:extLst>
              <a:ext uri="{FF2B5EF4-FFF2-40B4-BE49-F238E27FC236}">
                <a16:creationId xmlns:a16="http://schemas.microsoft.com/office/drawing/2014/main" id="{FF17205D-84D2-4801-AF32-C37F742059DB}"/>
              </a:ext>
            </a:extLst>
          </p:cNvPr>
          <p:cNvSpPr/>
          <p:nvPr userDrawn="1">
            <p:custDataLst>
              <p:tags r:id="rId2"/>
            </p:custDataLst>
          </p:nvPr>
        </p:nvSpPr>
        <p:spPr>
          <a:xfrm>
            <a:off x="612445" y="1727555"/>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 name="Text Placeholder 14">
            <a:extLst>
              <a:ext uri="{FF2B5EF4-FFF2-40B4-BE49-F238E27FC236}">
                <a16:creationId xmlns:a16="http://schemas.microsoft.com/office/drawing/2014/main" id="{974F9234-7F67-4800-8143-C3FE960D2598}"/>
              </a:ext>
            </a:extLst>
          </p:cNvPr>
          <p:cNvSpPr>
            <a:spLocks noGrp="1"/>
          </p:cNvSpPr>
          <p:nvPr>
            <p:ph type="body" sz="quarter" idx="12"/>
          </p:nvPr>
        </p:nvSpPr>
        <p:spPr>
          <a:xfrm>
            <a:off x="901232" y="3280044"/>
            <a:ext cx="3992071" cy="1866514"/>
          </a:xfrm>
        </p:spPr>
        <p:txBody>
          <a:bodyPr/>
          <a:lstStyle>
            <a:lvl1pPr marL="0" indent="0" algn="l">
              <a:buNone/>
              <a:defRPr>
                <a:latin typeface="EYInterstate Light" panose="02000506000000020004" pitchFamily="2" charset="0"/>
                <a:cs typeface="Arial" panose="020B0604020202020204" pitchFamily="34" charset="0"/>
                <a:sym typeface="EYInterstate Light" panose="02000506000000020004" pitchFamily="2" charset="0"/>
              </a:defRPr>
            </a:lvl1pPr>
            <a:lvl2pPr marL="171450" indent="0" algn="l">
              <a:buNone/>
              <a:defRPr>
                <a:latin typeface="EYInterstate Light" panose="02000506000000020004" pitchFamily="2" charset="0"/>
                <a:cs typeface="Arial" panose="020B0604020202020204" pitchFamily="34" charset="0"/>
                <a:sym typeface="EYInterstate Light" panose="02000506000000020004" pitchFamily="2" charset="0"/>
              </a:defRPr>
            </a:lvl2pPr>
            <a:lvl3pPr marL="342900" indent="0" algn="l">
              <a:buNone/>
              <a:defRPr>
                <a:latin typeface="EYInterstate Light" panose="02000506000000020004" pitchFamily="2" charset="0"/>
                <a:cs typeface="Arial" panose="020B0604020202020204" pitchFamily="34" charset="0"/>
                <a:sym typeface="EYInterstate Light" panose="02000506000000020004" pitchFamily="2" charset="0"/>
              </a:defRPr>
            </a:lvl3pPr>
            <a:lvl4pPr marL="514350" indent="0" algn="l">
              <a:buNone/>
              <a:defRPr>
                <a:latin typeface="EYInterstate Light" panose="02000506000000020004" pitchFamily="2" charset="0"/>
                <a:cs typeface="Arial" panose="020B0604020202020204" pitchFamily="34" charset="0"/>
                <a:sym typeface="EYInterstate Light" panose="02000506000000020004" pitchFamily="2" charset="0"/>
              </a:defRPr>
            </a:lvl4pPr>
            <a:lvl5pPr marL="685800" indent="0" algn="l">
              <a:buNone/>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2">
            <a:extLst>
              <a:ext uri="{FF2B5EF4-FFF2-40B4-BE49-F238E27FC236}">
                <a16:creationId xmlns:a16="http://schemas.microsoft.com/office/drawing/2014/main" id="{852711A5-C6AF-485D-ABBF-1D1D08FC952F}"/>
              </a:ext>
            </a:extLst>
          </p:cNvPr>
          <p:cNvSpPr>
            <a:spLocks noGrp="1"/>
          </p:cNvSpPr>
          <p:nvPr>
            <p:ph type="body" sz="quarter" idx="11" hasCustomPrompt="1"/>
          </p:nvPr>
        </p:nvSpPr>
        <p:spPr>
          <a:xfrm>
            <a:off x="901231" y="2693420"/>
            <a:ext cx="3992071" cy="474211"/>
          </a:xfrm>
        </p:spPr>
        <p:txBody>
          <a:bodyPr/>
          <a:lstStyle>
            <a:lvl1pPr marL="0" indent="0" algn="l">
              <a:buNone/>
              <a:defRPr sz="240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2400"/>
            </a:lvl2pPr>
            <a:lvl3pPr marL="342900" indent="0">
              <a:buNone/>
              <a:defRPr sz="2400"/>
            </a:lvl3pPr>
            <a:lvl4pPr marL="514350" indent="0">
              <a:buNone/>
              <a:defRPr sz="2400"/>
            </a:lvl4pPr>
            <a:lvl5pPr marL="685800" indent="0">
              <a:buNone/>
              <a:defRPr sz="2400"/>
            </a:lvl5pPr>
          </a:lstStyle>
          <a:p>
            <a:pPr lvl="0"/>
            <a:r>
              <a:rPr lang="en-US" dirty="0"/>
              <a:t>Section divider slide</a:t>
            </a:r>
          </a:p>
        </p:txBody>
      </p:sp>
      <p:sp>
        <p:nvSpPr>
          <p:cNvPr id="9" name="Text Placeholder 4">
            <a:extLst>
              <a:ext uri="{FF2B5EF4-FFF2-40B4-BE49-F238E27FC236}">
                <a16:creationId xmlns:a16="http://schemas.microsoft.com/office/drawing/2014/main" id="{B8D0DD43-3D59-421B-880E-ADA9E2176353}"/>
              </a:ext>
            </a:extLst>
          </p:cNvPr>
          <p:cNvSpPr>
            <a:spLocks noGrp="1"/>
          </p:cNvSpPr>
          <p:nvPr>
            <p:ph type="body" sz="quarter" idx="10" hasCustomPrompt="1"/>
          </p:nvPr>
        </p:nvSpPr>
        <p:spPr>
          <a:xfrm>
            <a:off x="901231" y="1450014"/>
            <a:ext cx="3992071" cy="1267873"/>
          </a:xfrm>
        </p:spPr>
        <p:txBody>
          <a:bodyPr/>
          <a:lstStyle>
            <a:lvl1pPr marL="0" indent="0" algn="l">
              <a:spcBef>
                <a:spcPts val="0"/>
              </a:spcBef>
              <a:buNone/>
              <a:defRPr sz="880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8800"/>
            </a:lvl2pPr>
            <a:lvl3pPr marL="342900" indent="0">
              <a:buNone/>
              <a:defRPr sz="8800"/>
            </a:lvl3pPr>
            <a:lvl4pPr marL="514350" indent="0">
              <a:buNone/>
              <a:defRPr sz="8800"/>
            </a:lvl4pPr>
            <a:lvl5pPr marL="685800" indent="0">
              <a:buNone/>
              <a:defRPr sz="8800"/>
            </a:lvl5pPr>
          </a:lstStyle>
          <a:p>
            <a:pPr lvl="0"/>
            <a:r>
              <a:rPr lang="en-US" dirty="0"/>
              <a:t>01</a:t>
            </a:r>
          </a:p>
        </p:txBody>
      </p:sp>
    </p:spTree>
    <p:extLst>
      <p:ext uri="{BB962C8B-B14F-4D97-AF65-F5344CB8AC3E}">
        <p14:creationId xmlns:p14="http://schemas.microsoft.com/office/powerpoint/2010/main" val="108446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with phot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D3B0B2-8FFA-44E8-9403-22280047511A}"/>
              </a:ext>
            </a:extLst>
          </p:cNvPr>
          <p:cNvGraphicFramePr>
            <a:graphicFrameLocks noChangeAspect="1"/>
          </p:cNvGraphicFramePr>
          <p:nvPr userDrawn="1">
            <p:custDataLst>
              <p:tags r:id="rId1"/>
            </p:custDataLst>
            <p:extLst>
              <p:ext uri="{D42A27DB-BD31-4B8C-83A1-F6EECF244321}">
                <p14:modId xmlns:p14="http://schemas.microsoft.com/office/powerpoint/2010/main" val="6972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59D3B0B2-8FFA-44E8-9403-2228004751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67340F8-FFDC-4ACD-9181-911E207B461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12198350" cy="6858001"/>
          </a:xfrm>
          <a:prstGeom prst="rect">
            <a:avLst/>
          </a:prstGeom>
        </p:spPr>
      </p:pic>
      <p:grpSp>
        <p:nvGrpSpPr>
          <p:cNvPr id="10" name="Group 9">
            <a:extLst>
              <a:ext uri="{FF2B5EF4-FFF2-40B4-BE49-F238E27FC236}">
                <a16:creationId xmlns:a16="http://schemas.microsoft.com/office/drawing/2014/main" id="{236BF7A3-B705-444E-B394-C104D20896C3}"/>
              </a:ext>
            </a:extLst>
          </p:cNvPr>
          <p:cNvGrpSpPr/>
          <p:nvPr userDrawn="1"/>
        </p:nvGrpSpPr>
        <p:grpSpPr>
          <a:xfrm>
            <a:off x="10624714" y="6367519"/>
            <a:ext cx="955115" cy="308551"/>
            <a:chOff x="2703513" y="2332038"/>
            <a:chExt cx="6784975" cy="2190751"/>
          </a:xfrm>
        </p:grpSpPr>
        <p:sp>
          <p:nvSpPr>
            <p:cNvPr id="11" name="Freeform 115">
              <a:extLst>
                <a:ext uri="{FF2B5EF4-FFF2-40B4-BE49-F238E27FC236}">
                  <a16:creationId xmlns:a16="http://schemas.microsoft.com/office/drawing/2014/main" id="{B6844CE1-BE29-4ABF-88FC-5E36310DF214}"/>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2" name="Freeform 116">
              <a:extLst>
                <a:ext uri="{FF2B5EF4-FFF2-40B4-BE49-F238E27FC236}">
                  <a16:creationId xmlns:a16="http://schemas.microsoft.com/office/drawing/2014/main" id="{DA93A943-317D-4CB6-98EC-8ADBE9719254}"/>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3" name="Freeform 117">
              <a:extLst>
                <a:ext uri="{FF2B5EF4-FFF2-40B4-BE49-F238E27FC236}">
                  <a16:creationId xmlns:a16="http://schemas.microsoft.com/office/drawing/2014/main" id="{A377B23C-9CA6-48D7-ADB7-7A4B7B9506B7}"/>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Freeform 118">
              <a:extLst>
                <a:ext uri="{FF2B5EF4-FFF2-40B4-BE49-F238E27FC236}">
                  <a16:creationId xmlns:a16="http://schemas.microsoft.com/office/drawing/2014/main" id="{F600A6E3-5BC8-47CF-A5DC-3BE3A0F8DF9C}"/>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Freeform 119">
              <a:extLst>
                <a:ext uri="{FF2B5EF4-FFF2-40B4-BE49-F238E27FC236}">
                  <a16:creationId xmlns:a16="http://schemas.microsoft.com/office/drawing/2014/main" id="{616149A6-9047-49C8-AF00-7D271F3211E5}"/>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6" name="Freeform 120">
              <a:extLst>
                <a:ext uri="{FF2B5EF4-FFF2-40B4-BE49-F238E27FC236}">
                  <a16:creationId xmlns:a16="http://schemas.microsoft.com/office/drawing/2014/main" id="{400209DF-B19D-4136-87C5-A7EECBC062D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7" name="Freeform 121">
              <a:extLst>
                <a:ext uri="{FF2B5EF4-FFF2-40B4-BE49-F238E27FC236}">
                  <a16:creationId xmlns:a16="http://schemas.microsoft.com/office/drawing/2014/main" id="{9A53CDF2-C048-458B-92C2-AAA8D0A1A168}"/>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Freeform 122">
              <a:extLst>
                <a:ext uri="{FF2B5EF4-FFF2-40B4-BE49-F238E27FC236}">
                  <a16:creationId xmlns:a16="http://schemas.microsoft.com/office/drawing/2014/main" id="{427E0FA6-70E7-46D7-8791-42F2F87231AA}"/>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9" name="Freeform 123">
              <a:extLst>
                <a:ext uri="{FF2B5EF4-FFF2-40B4-BE49-F238E27FC236}">
                  <a16:creationId xmlns:a16="http://schemas.microsoft.com/office/drawing/2014/main" id="{F105483C-3574-47A9-8636-CE634050808D}"/>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0" name="Freeform 124">
              <a:extLst>
                <a:ext uri="{FF2B5EF4-FFF2-40B4-BE49-F238E27FC236}">
                  <a16:creationId xmlns:a16="http://schemas.microsoft.com/office/drawing/2014/main" id="{8D712BA5-A0C9-4C12-9221-2B8742E1CBC3}"/>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1" name="Freeform 125">
              <a:extLst>
                <a:ext uri="{FF2B5EF4-FFF2-40B4-BE49-F238E27FC236}">
                  <a16:creationId xmlns:a16="http://schemas.microsoft.com/office/drawing/2014/main" id="{F0085AFE-5EFA-448A-919D-4DFD54E9C420}"/>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22" name="TextBox 21">
            <a:extLst>
              <a:ext uri="{FF2B5EF4-FFF2-40B4-BE49-F238E27FC236}">
                <a16:creationId xmlns:a16="http://schemas.microsoft.com/office/drawing/2014/main" id="{942C8F52-FF44-484A-83BD-50543A3C4895}"/>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Page </a:t>
            </a:r>
            <a:fld id="{9AE4D82F-B047-469B-AC52-A46321747EAF}" type="slidenum">
              <a:rPr lang="en-GB" sz="70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3" name="Text Placeholder 14">
            <a:extLst>
              <a:ext uri="{FF2B5EF4-FFF2-40B4-BE49-F238E27FC236}">
                <a16:creationId xmlns:a16="http://schemas.microsoft.com/office/drawing/2014/main" id="{8D4F633B-67BC-4F31-932B-05C2E57456FC}"/>
              </a:ext>
            </a:extLst>
          </p:cNvPr>
          <p:cNvSpPr>
            <a:spLocks noGrp="1"/>
          </p:cNvSpPr>
          <p:nvPr>
            <p:ph type="body" sz="quarter" idx="12"/>
          </p:nvPr>
        </p:nvSpPr>
        <p:spPr>
          <a:xfrm>
            <a:off x="901232" y="3280617"/>
            <a:ext cx="3992071" cy="1866514"/>
          </a:xfrm>
        </p:spPr>
        <p:txBody>
          <a:bodyPr/>
          <a:lstStyle>
            <a:lvl1pPr marL="0" indent="0" algn="l">
              <a:buNone/>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lgn="l">
              <a:buNone/>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2pPr>
            <a:lvl3pPr marL="342900" indent="0" algn="l">
              <a:buNone/>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3pPr>
            <a:lvl4pPr marL="514350" indent="0" algn="l">
              <a:buNone/>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4pPr>
            <a:lvl5pPr marL="685800" indent="0" algn="l">
              <a:buNone/>
              <a:defRPr>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2">
            <a:extLst>
              <a:ext uri="{FF2B5EF4-FFF2-40B4-BE49-F238E27FC236}">
                <a16:creationId xmlns:a16="http://schemas.microsoft.com/office/drawing/2014/main" id="{697817F2-9464-4F8E-BF58-71756C879F1D}"/>
              </a:ext>
            </a:extLst>
          </p:cNvPr>
          <p:cNvSpPr>
            <a:spLocks noGrp="1"/>
          </p:cNvSpPr>
          <p:nvPr>
            <p:ph type="body" sz="quarter" idx="11" hasCustomPrompt="1"/>
          </p:nvPr>
        </p:nvSpPr>
        <p:spPr>
          <a:xfrm>
            <a:off x="901231" y="2693993"/>
            <a:ext cx="3992071" cy="474211"/>
          </a:xfrm>
        </p:spPr>
        <p:txBody>
          <a:bodyPr/>
          <a:lstStyle>
            <a:lvl1pPr marL="0" indent="0" algn="l">
              <a:buNone/>
              <a:defRPr sz="24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2400"/>
            </a:lvl2pPr>
            <a:lvl3pPr marL="342900" indent="0">
              <a:buNone/>
              <a:defRPr sz="2400"/>
            </a:lvl3pPr>
            <a:lvl4pPr marL="514350" indent="0">
              <a:buNone/>
              <a:defRPr sz="2400"/>
            </a:lvl4pPr>
            <a:lvl5pPr marL="685800" indent="0">
              <a:buNone/>
              <a:defRPr sz="2400"/>
            </a:lvl5pPr>
          </a:lstStyle>
          <a:p>
            <a:pPr lvl="0"/>
            <a:r>
              <a:rPr lang="en-US" dirty="0"/>
              <a:t>Section divider slide</a:t>
            </a:r>
          </a:p>
        </p:txBody>
      </p:sp>
      <p:sp>
        <p:nvSpPr>
          <p:cNvPr id="25" name="Text Placeholder 4">
            <a:extLst>
              <a:ext uri="{FF2B5EF4-FFF2-40B4-BE49-F238E27FC236}">
                <a16:creationId xmlns:a16="http://schemas.microsoft.com/office/drawing/2014/main" id="{2A58B115-9908-4B9D-A724-9BB9B6567FFE}"/>
              </a:ext>
            </a:extLst>
          </p:cNvPr>
          <p:cNvSpPr>
            <a:spLocks noGrp="1"/>
          </p:cNvSpPr>
          <p:nvPr>
            <p:ph type="body" sz="quarter" idx="10" hasCustomPrompt="1"/>
          </p:nvPr>
        </p:nvSpPr>
        <p:spPr>
          <a:xfrm>
            <a:off x="901231" y="1450586"/>
            <a:ext cx="3992071" cy="1267873"/>
          </a:xfrm>
        </p:spPr>
        <p:txBody>
          <a:bodyPr/>
          <a:lstStyle>
            <a:lvl1pPr marL="0" indent="0" algn="l">
              <a:spcBef>
                <a:spcPts val="0"/>
              </a:spcBef>
              <a:buNone/>
              <a:defRPr sz="88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sz="8800"/>
            </a:lvl2pPr>
            <a:lvl3pPr marL="342900" indent="0">
              <a:buNone/>
              <a:defRPr sz="8800"/>
            </a:lvl3pPr>
            <a:lvl4pPr marL="514350" indent="0">
              <a:buNone/>
              <a:defRPr sz="8800"/>
            </a:lvl4pPr>
            <a:lvl5pPr marL="685800" indent="0">
              <a:buNone/>
              <a:defRPr sz="8800"/>
            </a:lvl5pPr>
          </a:lstStyle>
          <a:p>
            <a:pPr lvl="0"/>
            <a:r>
              <a:rPr lang="en-US" dirty="0"/>
              <a:t>01</a:t>
            </a:r>
          </a:p>
        </p:txBody>
      </p:sp>
      <p:sp>
        <p:nvSpPr>
          <p:cNvPr id="26" name="Rectangle 25">
            <a:extLst>
              <a:ext uri="{FF2B5EF4-FFF2-40B4-BE49-F238E27FC236}">
                <a16:creationId xmlns:a16="http://schemas.microsoft.com/office/drawing/2014/main" id="{97B309F3-09C5-4DDB-8C15-BF7E0DED23A2}"/>
              </a:ext>
            </a:extLst>
          </p:cNvPr>
          <p:cNvSpPr/>
          <p:nvPr userDrawn="1"/>
        </p:nvSpPr>
        <p:spPr>
          <a:xfrm>
            <a:off x="5314540" y="4476749"/>
            <a:ext cx="155367" cy="670381"/>
          </a:xfrm>
          <a:custGeom>
            <a:avLst/>
            <a:gdLst>
              <a:gd name="connsiteX0" fmla="*/ 0 w 155367"/>
              <a:gd name="connsiteY0" fmla="*/ 0 h 670381"/>
              <a:gd name="connsiteX1" fmla="*/ 155367 w 155367"/>
              <a:gd name="connsiteY1" fmla="*/ 0 h 670381"/>
              <a:gd name="connsiteX2" fmla="*/ 155367 w 155367"/>
              <a:gd name="connsiteY2" fmla="*/ 670381 h 670381"/>
              <a:gd name="connsiteX3" fmla="*/ 0 w 155367"/>
              <a:gd name="connsiteY3" fmla="*/ 670381 h 670381"/>
              <a:gd name="connsiteX4" fmla="*/ 0 w 155367"/>
              <a:gd name="connsiteY4" fmla="*/ 0 h 670381"/>
              <a:gd name="connsiteX0" fmla="*/ 0 w 155367"/>
              <a:gd name="connsiteY0" fmla="*/ 0 h 670381"/>
              <a:gd name="connsiteX1" fmla="*/ 155367 w 155367"/>
              <a:gd name="connsiteY1" fmla="*/ 126206 h 670381"/>
              <a:gd name="connsiteX2" fmla="*/ 155367 w 155367"/>
              <a:gd name="connsiteY2" fmla="*/ 670381 h 670381"/>
              <a:gd name="connsiteX3" fmla="*/ 0 w 155367"/>
              <a:gd name="connsiteY3" fmla="*/ 670381 h 670381"/>
              <a:gd name="connsiteX4" fmla="*/ 0 w 155367"/>
              <a:gd name="connsiteY4" fmla="*/ 0 h 670381"/>
              <a:gd name="connsiteX0" fmla="*/ 0 w 155367"/>
              <a:gd name="connsiteY0" fmla="*/ 0 h 670381"/>
              <a:gd name="connsiteX1" fmla="*/ 155367 w 155367"/>
              <a:gd name="connsiteY1" fmla="*/ 133350 h 670381"/>
              <a:gd name="connsiteX2" fmla="*/ 155367 w 155367"/>
              <a:gd name="connsiteY2" fmla="*/ 670381 h 670381"/>
              <a:gd name="connsiteX3" fmla="*/ 0 w 155367"/>
              <a:gd name="connsiteY3" fmla="*/ 670381 h 670381"/>
              <a:gd name="connsiteX4" fmla="*/ 0 w 155367"/>
              <a:gd name="connsiteY4" fmla="*/ 0 h 670381"/>
              <a:gd name="connsiteX0" fmla="*/ 0 w 155367"/>
              <a:gd name="connsiteY0" fmla="*/ 0 h 670381"/>
              <a:gd name="connsiteX1" fmla="*/ 155367 w 155367"/>
              <a:gd name="connsiteY1" fmla="*/ 145256 h 670381"/>
              <a:gd name="connsiteX2" fmla="*/ 155367 w 155367"/>
              <a:gd name="connsiteY2" fmla="*/ 670381 h 670381"/>
              <a:gd name="connsiteX3" fmla="*/ 0 w 155367"/>
              <a:gd name="connsiteY3" fmla="*/ 670381 h 670381"/>
              <a:gd name="connsiteX4" fmla="*/ 0 w 155367"/>
              <a:gd name="connsiteY4" fmla="*/ 0 h 67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67" h="670381">
                <a:moveTo>
                  <a:pt x="0" y="0"/>
                </a:moveTo>
                <a:lnTo>
                  <a:pt x="155367" y="145256"/>
                </a:lnTo>
                <a:lnTo>
                  <a:pt x="155367" y="670381"/>
                </a:lnTo>
                <a:lnTo>
                  <a:pt x="0" y="670381"/>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7" name="Rectangle 26">
            <a:extLst>
              <a:ext uri="{FF2B5EF4-FFF2-40B4-BE49-F238E27FC236}">
                <a16:creationId xmlns:a16="http://schemas.microsoft.com/office/drawing/2014/main" id="{ADA854DC-8235-4795-90AF-67EE36D037F3}"/>
              </a:ext>
            </a:extLst>
          </p:cNvPr>
          <p:cNvSpPr/>
          <p:nvPr userDrawn="1">
            <p:custDataLst>
              <p:tags r:id="rId2"/>
            </p:custDataLst>
          </p:nvPr>
        </p:nvSpPr>
        <p:spPr>
          <a:xfrm>
            <a:off x="612445" y="1718131"/>
            <a:ext cx="155367"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8" name="Rectangle 27">
            <a:extLst>
              <a:ext uri="{FF2B5EF4-FFF2-40B4-BE49-F238E27FC236}">
                <a16:creationId xmlns:a16="http://schemas.microsoft.com/office/drawing/2014/main" id="{058C6C40-C5C9-4E92-8C44-0A43AFF32909}"/>
              </a:ext>
            </a:extLst>
          </p:cNvPr>
          <p:cNvSpPr/>
          <p:nvPr userDrawn="1"/>
        </p:nvSpPr>
        <p:spPr>
          <a:xfrm>
            <a:off x="5314540" y="1718132"/>
            <a:ext cx="155367" cy="856001"/>
          </a:xfrm>
          <a:custGeom>
            <a:avLst/>
            <a:gdLst>
              <a:gd name="connsiteX0" fmla="*/ 0 w 155367"/>
              <a:gd name="connsiteY0" fmla="*/ 0 h 758369"/>
              <a:gd name="connsiteX1" fmla="*/ 155367 w 155367"/>
              <a:gd name="connsiteY1" fmla="*/ 0 h 758369"/>
              <a:gd name="connsiteX2" fmla="*/ 155367 w 155367"/>
              <a:gd name="connsiteY2" fmla="*/ 758369 h 758369"/>
              <a:gd name="connsiteX3" fmla="*/ 0 w 155367"/>
              <a:gd name="connsiteY3" fmla="*/ 758369 h 758369"/>
              <a:gd name="connsiteX4" fmla="*/ 0 w 155367"/>
              <a:gd name="connsiteY4" fmla="*/ 0 h 758369"/>
              <a:gd name="connsiteX0" fmla="*/ 0 w 155367"/>
              <a:gd name="connsiteY0" fmla="*/ 0 h 844094"/>
              <a:gd name="connsiteX1" fmla="*/ 155367 w 155367"/>
              <a:gd name="connsiteY1" fmla="*/ 0 h 844094"/>
              <a:gd name="connsiteX2" fmla="*/ 155367 w 155367"/>
              <a:gd name="connsiteY2" fmla="*/ 844094 h 844094"/>
              <a:gd name="connsiteX3" fmla="*/ 0 w 155367"/>
              <a:gd name="connsiteY3" fmla="*/ 758369 h 844094"/>
              <a:gd name="connsiteX4" fmla="*/ 0 w 155367"/>
              <a:gd name="connsiteY4" fmla="*/ 0 h 844094"/>
              <a:gd name="connsiteX0" fmla="*/ 0 w 155367"/>
              <a:gd name="connsiteY0" fmla="*/ 0 h 844094"/>
              <a:gd name="connsiteX1" fmla="*/ 155367 w 155367"/>
              <a:gd name="connsiteY1" fmla="*/ 0 h 844094"/>
              <a:gd name="connsiteX2" fmla="*/ 155367 w 155367"/>
              <a:gd name="connsiteY2" fmla="*/ 844094 h 844094"/>
              <a:gd name="connsiteX3" fmla="*/ 0 w 155367"/>
              <a:gd name="connsiteY3" fmla="*/ 725032 h 844094"/>
              <a:gd name="connsiteX4" fmla="*/ 0 w 155367"/>
              <a:gd name="connsiteY4" fmla="*/ 0 h 844094"/>
              <a:gd name="connsiteX0" fmla="*/ 0 w 155367"/>
              <a:gd name="connsiteY0" fmla="*/ 0 h 856001"/>
              <a:gd name="connsiteX1" fmla="*/ 155367 w 155367"/>
              <a:gd name="connsiteY1" fmla="*/ 0 h 856001"/>
              <a:gd name="connsiteX2" fmla="*/ 155367 w 155367"/>
              <a:gd name="connsiteY2" fmla="*/ 856001 h 856001"/>
              <a:gd name="connsiteX3" fmla="*/ 0 w 155367"/>
              <a:gd name="connsiteY3" fmla="*/ 725032 h 856001"/>
              <a:gd name="connsiteX4" fmla="*/ 0 w 155367"/>
              <a:gd name="connsiteY4" fmla="*/ 0 h 85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67" h="856001">
                <a:moveTo>
                  <a:pt x="0" y="0"/>
                </a:moveTo>
                <a:lnTo>
                  <a:pt x="155367" y="0"/>
                </a:lnTo>
                <a:lnTo>
                  <a:pt x="155367" y="856001"/>
                </a:lnTo>
                <a:lnTo>
                  <a:pt x="0" y="72503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705956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content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FAB4E20-55CB-4158-A9C8-7325E8F44632}"/>
              </a:ext>
            </a:extLst>
          </p:cNvPr>
          <p:cNvGraphicFramePr>
            <a:graphicFrameLocks noChangeAspect="1"/>
          </p:cNvGraphicFramePr>
          <p:nvPr userDrawn="1">
            <p:custDataLst>
              <p:tags r:id="rId1"/>
            </p:custDataLst>
            <p:extLst>
              <p:ext uri="{D42A27DB-BD31-4B8C-83A1-F6EECF244321}">
                <p14:modId xmlns:p14="http://schemas.microsoft.com/office/powerpoint/2010/main" val="147120157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ct 9" hidden="1">
                        <a:extLst>
                          <a:ext uri="{FF2B5EF4-FFF2-40B4-BE49-F238E27FC236}">
                            <a16:creationId xmlns:a16="http://schemas.microsoft.com/office/drawing/2014/main" id="{BFAB4E20-55CB-4158-A9C8-7325E8F4463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 name="Text Placeholder 11">
            <a:extLst>
              <a:ext uri="{FF2B5EF4-FFF2-40B4-BE49-F238E27FC236}">
                <a16:creationId xmlns:a16="http://schemas.microsoft.com/office/drawing/2014/main" id="{BC137590-8193-4D3F-A63A-6937CDCA1D93}"/>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4" name="Text Placeholder 3">
            <a:extLst>
              <a:ext uri="{FF2B5EF4-FFF2-40B4-BE49-F238E27FC236}">
                <a16:creationId xmlns:a16="http://schemas.microsoft.com/office/drawing/2014/main" id="{145E5BE0-C7F0-477B-AA01-F3C6E57115C6}"/>
              </a:ext>
            </a:extLst>
          </p:cNvPr>
          <p:cNvSpPr>
            <a:spLocks noGrp="1"/>
          </p:cNvSpPr>
          <p:nvPr>
            <p:ph type="body" sz="quarter" idx="12" hasCustomPrompt="1"/>
          </p:nvPr>
        </p:nvSpPr>
        <p:spPr>
          <a:xfrm>
            <a:off x="612648" y="80267"/>
            <a:ext cx="5483544"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6" name="Title 1">
            <a:extLst>
              <a:ext uri="{FF2B5EF4-FFF2-40B4-BE49-F238E27FC236}">
                <a16:creationId xmlns:a16="http://schemas.microsoft.com/office/drawing/2014/main" id="{5218999E-3C87-4132-AA7C-327AF1B498BF}"/>
              </a:ext>
            </a:extLst>
          </p:cNvPr>
          <p:cNvSpPr>
            <a:spLocks noGrp="1"/>
          </p:cNvSpPr>
          <p:nvPr>
            <p:ph type="title"/>
          </p:nvPr>
        </p:nvSpPr>
        <p:spPr>
          <a:xfrm>
            <a:off x="612648" y="294200"/>
            <a:ext cx="10967088" cy="590400"/>
          </a:xfrm>
        </p:spPr>
        <p:txBody>
          <a:bodyPr vert="horz"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17" name="Text Placeholder 2">
            <a:extLst>
              <a:ext uri="{FF2B5EF4-FFF2-40B4-BE49-F238E27FC236}">
                <a16:creationId xmlns:a16="http://schemas.microsoft.com/office/drawing/2014/main" id="{7B1A1C81-DB9F-4B9A-80B4-6C759338380C}"/>
              </a:ext>
            </a:extLst>
          </p:cNvPr>
          <p:cNvSpPr>
            <a:spLocks noGrp="1"/>
          </p:cNvSpPr>
          <p:nvPr>
            <p:ph idx="1"/>
          </p:nvPr>
        </p:nvSpPr>
        <p:spPr>
          <a:xfrm>
            <a:off x="615367" y="1280160"/>
            <a:ext cx="10972800" cy="4892040"/>
          </a:xfrm>
          <a:prstGeom prst="rect">
            <a:avLst/>
          </a:prstGeom>
        </p:spPr>
        <p:txBody>
          <a:bodyPr vert="horz" lIns="0" tIns="0" rIns="0" bIns="0" rtlCol="0" anchor="t" anchorCtr="0">
            <a:noAutofit/>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5">
            <a:extLst>
              <a:ext uri="{FF2B5EF4-FFF2-40B4-BE49-F238E27FC236}">
                <a16:creationId xmlns:a16="http://schemas.microsoft.com/office/drawing/2014/main" id="{42E21E7C-CDFA-4FB4-88EE-F1053C41F8BA}"/>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9" name="Text Placeholder 4">
            <a:extLst>
              <a:ext uri="{FF2B5EF4-FFF2-40B4-BE49-F238E27FC236}">
                <a16:creationId xmlns:a16="http://schemas.microsoft.com/office/drawing/2014/main" id="{E10E7243-08C4-4206-BC91-30BDA0F2B021}"/>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4"/>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spTree>
    <p:extLst>
      <p:ext uri="{BB962C8B-B14F-4D97-AF65-F5344CB8AC3E}">
        <p14:creationId xmlns:p14="http://schemas.microsoft.com/office/powerpoint/2010/main" val="3707615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content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FAB4E20-55CB-4158-A9C8-7325E8F44632}"/>
              </a:ext>
            </a:extLst>
          </p:cNvPr>
          <p:cNvGraphicFramePr>
            <a:graphicFrameLocks noChangeAspect="1"/>
          </p:cNvGraphicFramePr>
          <p:nvPr userDrawn="1">
            <p:custDataLst>
              <p:tags r:id="rId1"/>
            </p:custDataLst>
            <p:extLst>
              <p:ext uri="{D42A27DB-BD31-4B8C-83A1-F6EECF244321}">
                <p14:modId xmlns:p14="http://schemas.microsoft.com/office/powerpoint/2010/main" val="9100681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Object 9" hidden="1">
                        <a:extLst>
                          <a:ext uri="{FF2B5EF4-FFF2-40B4-BE49-F238E27FC236}">
                            <a16:creationId xmlns:a16="http://schemas.microsoft.com/office/drawing/2014/main" id="{BFAB4E20-55CB-4158-A9C8-7325E8F4463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 name="Text Placeholder 11">
            <a:extLst>
              <a:ext uri="{FF2B5EF4-FFF2-40B4-BE49-F238E27FC236}">
                <a16:creationId xmlns:a16="http://schemas.microsoft.com/office/drawing/2014/main" id="{BC137590-8193-4D3F-A63A-6937CDCA1D93}"/>
              </a:ext>
            </a:extLst>
          </p:cNvPr>
          <p:cNvSpPr>
            <a:spLocks noGrp="1"/>
          </p:cNvSpPr>
          <p:nvPr>
            <p:ph type="body" sz="quarter" idx="11" hasCustomPrompt="1"/>
          </p:nvPr>
        </p:nvSpPr>
        <p:spPr>
          <a:xfrm>
            <a:off x="615366" y="6426589"/>
            <a:ext cx="7864342" cy="242888"/>
          </a:xfrm>
        </p:spPr>
        <p:txBody>
          <a:bodyPr vert="horz" wrap="square" lIns="9144" tIns="9144" rIns="9144" bIns="9144" rtlCol="0" anchor="b" anchorCtr="0">
            <a:noAutofit/>
          </a:bodyPr>
          <a:lstStyle>
            <a:lvl1pPr marL="0" indent="0">
              <a:buNone/>
              <a:defRPr lang="en-US" sz="800" smtClean="0">
                <a:latin typeface="EYInterstate Light" panose="02000506000000020004" pitchFamily="2" charset="0"/>
                <a:cs typeface="Arial" panose="020B0604020202020204" pitchFamily="34" charset="0"/>
                <a:sym typeface="EYInterstate Light" panose="02000506000000020004" pitchFamily="2" charset="0"/>
              </a:defRPr>
            </a:lvl1pPr>
            <a:lvl2pPr marL="171450" indent="0">
              <a:buNone/>
              <a:defRPr lang="en-US" smtClean="0"/>
            </a:lvl2pPr>
            <a:lvl3pPr marL="342900" indent="0">
              <a:buNone/>
              <a:defRPr lang="en-US" smtClean="0"/>
            </a:lvl3pPr>
            <a:lvl4pPr marL="514350" indent="0">
              <a:buNone/>
              <a:defRPr lang="en-US" smtClean="0"/>
            </a:lvl4pPr>
            <a:lvl5pPr marL="685800" indent="0">
              <a:buNone/>
              <a:defRPr lang="en-US"/>
            </a:lvl5pPr>
          </a:lstStyle>
          <a:p>
            <a:pPr marL="0" lvl="0" indent="0">
              <a:buNone/>
            </a:pPr>
            <a:r>
              <a:rPr lang="en-US" dirty="0"/>
              <a:t>Source:</a:t>
            </a:r>
          </a:p>
        </p:txBody>
      </p:sp>
      <p:sp>
        <p:nvSpPr>
          <p:cNvPr id="16" name="Title 1">
            <a:extLst>
              <a:ext uri="{FF2B5EF4-FFF2-40B4-BE49-F238E27FC236}">
                <a16:creationId xmlns:a16="http://schemas.microsoft.com/office/drawing/2014/main" id="{5218999E-3C87-4132-AA7C-327AF1B498BF}"/>
              </a:ext>
            </a:extLst>
          </p:cNvPr>
          <p:cNvSpPr>
            <a:spLocks noGrp="1"/>
          </p:cNvSpPr>
          <p:nvPr>
            <p:ph type="title"/>
          </p:nvPr>
        </p:nvSpPr>
        <p:spPr>
          <a:xfrm>
            <a:off x="612648" y="294200"/>
            <a:ext cx="10967088" cy="590400"/>
          </a:xfrm>
        </p:spPr>
        <p:txBody>
          <a:bodyPr vert="horz" anchor="t"/>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r>
              <a:rPr lang="en-US"/>
              <a:t>Click to edit Master title style</a:t>
            </a:r>
            <a:endParaRPr lang="en-GB" dirty="0"/>
          </a:p>
        </p:txBody>
      </p:sp>
      <p:sp>
        <p:nvSpPr>
          <p:cNvPr id="17" name="Text Placeholder 2">
            <a:extLst>
              <a:ext uri="{FF2B5EF4-FFF2-40B4-BE49-F238E27FC236}">
                <a16:creationId xmlns:a16="http://schemas.microsoft.com/office/drawing/2014/main" id="{7B1A1C81-DB9F-4B9A-80B4-6C759338380C}"/>
              </a:ext>
            </a:extLst>
          </p:cNvPr>
          <p:cNvSpPr>
            <a:spLocks noGrp="1"/>
          </p:cNvSpPr>
          <p:nvPr>
            <p:ph idx="1"/>
          </p:nvPr>
        </p:nvSpPr>
        <p:spPr>
          <a:xfrm>
            <a:off x="615367" y="1280160"/>
            <a:ext cx="10972800" cy="4892040"/>
          </a:xfrm>
          <a:prstGeom prst="rect">
            <a:avLst/>
          </a:prstGeom>
        </p:spPr>
        <p:txBody>
          <a:bodyPr vert="horz" lIns="0" tIns="0" rIns="0" bIns="0" rtlCol="0" anchor="t" anchorCtr="0">
            <a:noAutofit/>
          </a:bodyPr>
          <a:lstStyle>
            <a:lvl1pPr>
              <a:defRPr>
                <a:latin typeface="EYInterstate Light" panose="02000506000000020004" pitchFamily="2" charset="0"/>
                <a:cs typeface="Arial" panose="020B0604020202020204" pitchFamily="34" charset="0"/>
                <a:sym typeface="EYInterstate Light" panose="02000506000000020004" pitchFamily="2" charset="0"/>
              </a:defRPr>
            </a:lvl1pPr>
            <a:lvl2pPr>
              <a:defRPr>
                <a:latin typeface="EYInterstate Light" panose="02000506000000020004" pitchFamily="2" charset="0"/>
                <a:cs typeface="Arial" panose="020B0604020202020204" pitchFamily="34" charset="0"/>
                <a:sym typeface="EYInterstate Light" panose="02000506000000020004" pitchFamily="2" charset="0"/>
              </a:defRPr>
            </a:lvl2pPr>
            <a:lvl3pPr>
              <a:defRPr>
                <a:latin typeface="EYInterstate Light" panose="02000506000000020004" pitchFamily="2" charset="0"/>
                <a:cs typeface="Arial" panose="020B0604020202020204" pitchFamily="34" charset="0"/>
                <a:sym typeface="EYInterstate Light" panose="02000506000000020004" pitchFamily="2" charset="0"/>
              </a:defRPr>
            </a:lvl3pPr>
            <a:lvl4pPr>
              <a:defRPr>
                <a:latin typeface="EYInterstate Light" panose="02000506000000020004" pitchFamily="2" charset="0"/>
                <a:cs typeface="Arial" panose="020B0604020202020204" pitchFamily="34" charset="0"/>
                <a:sym typeface="EYInterstate Light" panose="02000506000000020004" pitchFamily="2" charset="0"/>
              </a:defRPr>
            </a:lvl4pPr>
            <a:lvl5pPr>
              <a:defRPr>
                <a:latin typeface="EYInterstate Light" panose="02000506000000020004" pitchFamily="2" charset="0"/>
                <a:cs typeface="Arial" panose="020B0604020202020204" pitchFamily="34" charset="0"/>
                <a:sym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242755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ags" Target="../tags/tag41.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8BA1C5-5C13-4ACC-A97F-6A7F71D88C13}"/>
              </a:ext>
            </a:extLst>
          </p:cNvPr>
          <p:cNvGraphicFramePr>
            <a:graphicFrameLocks noChangeAspect="1"/>
          </p:cNvGraphicFramePr>
          <p:nvPr userDrawn="1">
            <p:custDataLst>
              <p:tags r:id="rId29"/>
            </p:custDataLst>
            <p:extLst>
              <p:ext uri="{D42A27DB-BD31-4B8C-83A1-F6EECF244321}">
                <p14:modId xmlns:p14="http://schemas.microsoft.com/office/powerpoint/2010/main" val="11830085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0" imgW="306" imgH="306" progId="TCLayout.ActiveDocument.1">
                  <p:embed/>
                </p:oleObj>
              </mc:Choice>
              <mc:Fallback>
                <p:oleObj name="think-cell Slide" r:id="rId30" imgW="306" imgH="306" progId="TCLayout.ActiveDocument.1">
                  <p:embed/>
                  <p:pic>
                    <p:nvPicPr>
                      <p:cNvPr id="5" name="Object 4" hidden="1">
                        <a:extLst>
                          <a:ext uri="{FF2B5EF4-FFF2-40B4-BE49-F238E27FC236}">
                            <a16:creationId xmlns:a16="http://schemas.microsoft.com/office/drawing/2014/main" id="{8D8BA1C5-5C13-4ACC-A97F-6A7F71D88C13}"/>
                          </a:ext>
                        </a:extLst>
                      </p:cNvPr>
                      <p:cNvPicPr/>
                      <p:nvPr/>
                    </p:nvPicPr>
                    <p:blipFill>
                      <a:blip r:embed="rId31"/>
                      <a:stretch>
                        <a:fillRect/>
                      </a:stretch>
                    </p:blipFill>
                    <p:spPr>
                      <a:xfrm>
                        <a:off x="1587" y="1588"/>
                        <a:ext cx="1587"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91BE8FA8-52E9-481E-A20E-52858B0F9AED}"/>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Page </a:t>
            </a:r>
            <a:fld id="{9AE4D82F-B047-469B-AC52-A46321747EAF}" type="slidenum">
              <a:rPr lang="en-GB" sz="80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 name="Title Placeholder 5">
            <a:extLst>
              <a:ext uri="{FF2B5EF4-FFF2-40B4-BE49-F238E27FC236}">
                <a16:creationId xmlns:a16="http://schemas.microsoft.com/office/drawing/2014/main" id="{3D3FF979-E5E7-41E9-B23D-A00DCD8A90A8}"/>
              </a:ext>
            </a:extLst>
          </p:cNvPr>
          <p:cNvSpPr>
            <a:spLocks noGrp="1"/>
          </p:cNvSpPr>
          <p:nvPr>
            <p:ph type="title"/>
          </p:nvPr>
        </p:nvSpPr>
        <p:spPr>
          <a:xfrm>
            <a:off x="612329" y="292608"/>
            <a:ext cx="10972800" cy="594360"/>
          </a:xfrm>
          <a:prstGeom prst="rect">
            <a:avLst/>
          </a:prstGeom>
        </p:spPr>
        <p:txBody>
          <a:bodyPr vert="horz" lIns="0" tIns="0" rIns="0" bIns="0" rtlCol="0" anchor="t">
            <a:normAutofit/>
          </a:bodyPr>
          <a:lstStyle/>
          <a:p>
            <a:r>
              <a:rPr lang="en-US" dirty="0"/>
              <a:t>Click to edit Master title style</a:t>
            </a:r>
          </a:p>
        </p:txBody>
      </p:sp>
      <p:sp>
        <p:nvSpPr>
          <p:cNvPr id="7" name="Text Placeholder 6">
            <a:extLst>
              <a:ext uri="{FF2B5EF4-FFF2-40B4-BE49-F238E27FC236}">
                <a16:creationId xmlns:a16="http://schemas.microsoft.com/office/drawing/2014/main" id="{648DA4F2-26E0-4E38-8DA8-279EDA912DD4}"/>
              </a:ext>
            </a:extLst>
          </p:cNvPr>
          <p:cNvSpPr>
            <a:spLocks noGrp="1"/>
          </p:cNvSpPr>
          <p:nvPr>
            <p:ph type="body" idx="1"/>
          </p:nvPr>
        </p:nvSpPr>
        <p:spPr>
          <a:xfrm>
            <a:off x="612329" y="1280160"/>
            <a:ext cx="10972800" cy="489204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000" r:id="rId1"/>
    <p:sldLayoutId id="2147484003" r:id="rId2"/>
    <p:sldLayoutId id="2147484024" r:id="rId3"/>
    <p:sldLayoutId id="2147483976" r:id="rId4"/>
    <p:sldLayoutId id="2147484020" r:id="rId5"/>
    <p:sldLayoutId id="2147483977" r:id="rId6"/>
    <p:sldLayoutId id="2147484018" r:id="rId7"/>
    <p:sldLayoutId id="2147483978" r:id="rId8"/>
    <p:sldLayoutId id="2147484027" r:id="rId9"/>
    <p:sldLayoutId id="2147484005" r:id="rId10"/>
    <p:sldLayoutId id="2147484006" r:id="rId11"/>
    <p:sldLayoutId id="2147484007" r:id="rId12"/>
    <p:sldLayoutId id="2147484015" r:id="rId13"/>
    <p:sldLayoutId id="2147483979" r:id="rId14"/>
    <p:sldLayoutId id="2147483980" r:id="rId15"/>
    <p:sldLayoutId id="2147484028" r:id="rId16"/>
    <p:sldLayoutId id="2147483981" r:id="rId17"/>
    <p:sldLayoutId id="2147483982" r:id="rId18"/>
    <p:sldLayoutId id="2147483983" r:id="rId19"/>
    <p:sldLayoutId id="2147483995" r:id="rId20"/>
    <p:sldLayoutId id="2147484022" r:id="rId21"/>
    <p:sldLayoutId id="2147483996" r:id="rId22"/>
    <p:sldLayoutId id="2147483984" r:id="rId23"/>
    <p:sldLayoutId id="2147483985" r:id="rId24"/>
    <p:sldLayoutId id="2147483986" r:id="rId25"/>
    <p:sldLayoutId id="2147483987" r:id="rId26"/>
    <p:sldLayoutId id="2147483988" r:id="rId27"/>
  </p:sldLayoutIdLst>
  <p:hf hdr="0"/>
  <p:txStyles>
    <p:title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sym typeface="EYInterstate Light" panose="02000506000000020004" pitchFamily="2" charset="0"/>
        </a:defRPr>
      </a:lvl1pPr>
    </p:titleStyle>
    <p:bodyStyle>
      <a:lvl1pPr marL="268288" indent="-268288" algn="l" defTabSz="914400" rtl="0" eaLnBrk="1" latinLnBrk="0" hangingPunct="1">
        <a:spcBef>
          <a:spcPct val="20000"/>
        </a:spcBef>
        <a:buClr>
          <a:srgbClr val="1A9AFA"/>
        </a:buClr>
        <a:buSzPct val="70000"/>
        <a:buFont typeface="Arial" panose="020B0604020202020204" pitchFamily="34" charset="0"/>
        <a:buChar char="►"/>
        <a:defRPr lang="en-US" sz="1600" kern="1200" dirty="0" smtClean="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534988" indent="-266700" algn="l" defTabSz="914400" rtl="0" eaLnBrk="1" latinLnBrk="0" hangingPunct="1">
        <a:spcBef>
          <a:spcPct val="20000"/>
        </a:spcBef>
        <a:buClr>
          <a:srgbClr val="1A9AFA"/>
        </a:buClr>
        <a:buSzPct val="70000"/>
        <a:buFont typeface="Arial" panose="020B0604020202020204" pitchFamily="34" charset="0"/>
        <a:buChar char="►"/>
        <a:tabLst/>
        <a:defRPr lang="en-US" sz="1600" kern="1200" dirty="0" smtClean="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2pPr>
      <a:lvl3pPr marL="803275" indent="-268288" algn="l" defTabSz="914400" rtl="0" eaLnBrk="1" latinLnBrk="0" hangingPunct="1">
        <a:spcBef>
          <a:spcPct val="20000"/>
        </a:spcBef>
        <a:buClr>
          <a:srgbClr val="1A9AFA"/>
        </a:buClr>
        <a:buSzPct val="70000"/>
        <a:buFont typeface="Arial" panose="020B0604020202020204" pitchFamily="34" charset="0"/>
        <a:buChar char="►"/>
        <a:defRPr lang="en-US" sz="1600" kern="1200" dirty="0" smtClean="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3pPr>
      <a:lvl4pPr marL="1081088" indent="-277813" algn="l" defTabSz="914400" rtl="0" eaLnBrk="1" latinLnBrk="0" hangingPunct="1">
        <a:spcBef>
          <a:spcPct val="20000"/>
        </a:spcBef>
        <a:buClr>
          <a:srgbClr val="1A9AFA"/>
        </a:buClr>
        <a:buSzPct val="70000"/>
        <a:buFont typeface="Arial" panose="020B0604020202020204" pitchFamily="34" charset="0"/>
        <a:buChar char="►"/>
        <a:defRPr lang="en-US" sz="1600" kern="1200" dirty="0" smtClean="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4pPr>
      <a:lvl5pPr marL="1347788" indent="-266700" algn="l" defTabSz="914400" rtl="0" eaLnBrk="1" latinLnBrk="0" hangingPunct="1">
        <a:spcBef>
          <a:spcPct val="20000"/>
        </a:spcBef>
        <a:buClr>
          <a:srgbClr val="1A9AFA"/>
        </a:buClr>
        <a:buSzPct val="70000"/>
        <a:buFont typeface="Arial" panose="020B0604020202020204" pitchFamily="34" charset="0"/>
        <a:buChar char="►"/>
        <a:defRPr lang="en-GB" sz="1600" kern="1200" dirty="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100" kern="1200">
          <a:solidFill>
            <a:schemeClr val="tx1"/>
          </a:solidFill>
          <a:latin typeface="+mn-lt"/>
          <a:ea typeface="+mn-ea"/>
          <a:cs typeface="+mn-cs"/>
        </a:defRPr>
      </a:lvl6pPr>
      <a:lvl7pPr marL="2743200" algn="l" defTabSz="914400" rtl="0" eaLnBrk="1" latinLnBrk="0" hangingPunct="1">
        <a:defRPr sz="1100" kern="1200">
          <a:solidFill>
            <a:schemeClr val="tx1"/>
          </a:solidFill>
          <a:latin typeface="+mn-lt"/>
          <a:ea typeface="+mn-ea"/>
          <a:cs typeface="+mn-cs"/>
        </a:defRPr>
      </a:lvl7pPr>
      <a:lvl8pPr marL="3200400" algn="l" defTabSz="914400" rtl="0" eaLnBrk="1" latinLnBrk="0" hangingPunct="1">
        <a:defRPr sz="1100" kern="1200">
          <a:solidFill>
            <a:schemeClr val="tx1"/>
          </a:solidFill>
          <a:latin typeface="+mn-lt"/>
          <a:ea typeface="+mn-ea"/>
          <a:cs typeface="+mn-cs"/>
        </a:defRPr>
      </a:lvl8pPr>
      <a:lvl9pPr marL="3657600" algn="l" defTabSz="914400" rtl="0" eaLnBrk="1" latinLnBrk="0" hangingPunct="1">
        <a:defRPr sz="1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userDrawn="1">
          <p15:clr>
            <a:srgbClr val="F26B43"/>
          </p15:clr>
        </p15:guide>
        <p15:guide id="2" pos="7296" userDrawn="1">
          <p15:clr>
            <a:srgbClr val="F26B43"/>
          </p15:clr>
        </p15:guide>
        <p15:guide id="3" orient="horz" pos="805" userDrawn="1">
          <p15:clr>
            <a:srgbClr val="F26B43"/>
          </p15:clr>
        </p15:guide>
        <p15:guide id="4" orient="horz" pos="38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29"/>
            </p:custDataLst>
            <p:extLst>
              <p:ext uri="{D42A27DB-BD31-4B8C-83A1-F6EECF244321}">
                <p14:modId xmlns:p14="http://schemas.microsoft.com/office/powerpoint/2010/main" val="52767301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0" imgW="306" imgH="306" progId="TCLayout.ActiveDocument.1">
                  <p:embed/>
                </p:oleObj>
              </mc:Choice>
              <mc:Fallback>
                <p:oleObj name="think-cell Slide" r:id="rId30"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31"/>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12648" y="1280160"/>
            <a:ext cx="10969626" cy="489204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Page </a:t>
            </a:r>
            <a:fld id="{9AE4D82F-B047-469B-AC52-A46321747EAF}" type="slidenum">
              <a:rPr lang="en-GB" sz="700" smtClean="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4013" r:id="rId1"/>
    <p:sldLayoutId id="2147484023" r:id="rId2"/>
    <p:sldLayoutId id="2147483905" r:id="rId3"/>
    <p:sldLayoutId id="2147484019" r:id="rId4"/>
    <p:sldLayoutId id="2147483971" r:id="rId5"/>
    <p:sldLayoutId id="2147484017" r:id="rId6"/>
    <p:sldLayoutId id="2147483897" r:id="rId7"/>
    <p:sldLayoutId id="2147484025" r:id="rId8"/>
    <p:sldLayoutId id="2147484008" r:id="rId9"/>
    <p:sldLayoutId id="2147484009" r:id="rId10"/>
    <p:sldLayoutId id="2147484010" r:id="rId11"/>
    <p:sldLayoutId id="2147484016" r:id="rId12"/>
    <p:sldLayoutId id="2147483968" r:id="rId13"/>
    <p:sldLayoutId id="2147483898" r:id="rId14"/>
    <p:sldLayoutId id="2147484026" r:id="rId15"/>
    <p:sldLayoutId id="2147483969" r:id="rId16"/>
    <p:sldLayoutId id="2147483909" r:id="rId17"/>
    <p:sldLayoutId id="2147483910" r:id="rId18"/>
    <p:sldLayoutId id="2147483994" r:id="rId19"/>
    <p:sldLayoutId id="2147484021" r:id="rId20"/>
    <p:sldLayoutId id="2147483997" r:id="rId21"/>
    <p:sldLayoutId id="2147483911" r:id="rId22"/>
    <p:sldLayoutId id="2147483915" r:id="rId23"/>
    <p:sldLayoutId id="2147483917" r:id="rId24"/>
    <p:sldLayoutId id="2147483927" r:id="rId25"/>
    <p:sldLayoutId id="2147483928" r:id="rId26"/>
    <p:sldLayoutId id="2147484029" r:id="rId27"/>
  </p:sldLayoutIdLst>
  <p:hf hdr="0"/>
  <p:txStyles>
    <p:title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sym typeface="EYInterstate Light" panose="02000506000000020004" pitchFamily="2" charset="0"/>
        </a:defRPr>
      </a:lvl1pPr>
    </p:titleStyle>
    <p:bodyStyle>
      <a:lvl1pPr marL="268288" indent="-268288" algn="l" defTabSz="914400" rtl="0" eaLnBrk="1" latinLnBrk="0" hangingPunct="1">
        <a:spcBef>
          <a:spcPct val="20000"/>
        </a:spcBef>
        <a:buClr>
          <a:srgbClr val="1A9AFA"/>
        </a:buClr>
        <a:buSzPct val="70000"/>
        <a:buFont typeface="Arial" panose="020B0604020202020204" pitchFamily="34" charset="0"/>
        <a:buChar char="►"/>
        <a:defRPr sz="1600" kern="120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1pPr>
      <a:lvl2pPr marL="534988" indent="-263525" algn="l" defTabSz="914400" rtl="0" eaLnBrk="1" latinLnBrk="0" hangingPunct="1">
        <a:spcBef>
          <a:spcPct val="20000"/>
        </a:spcBef>
        <a:buClr>
          <a:srgbClr val="1A9AFA"/>
        </a:buClr>
        <a:buSzPct val="70000"/>
        <a:buFont typeface="Arial" panose="020B0604020202020204" pitchFamily="34" charset="0"/>
        <a:buChar char="►"/>
        <a:defRPr sz="1600" kern="120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2pPr>
      <a:lvl3pPr marL="803275" indent="-254000" algn="l" defTabSz="914400" rtl="0" eaLnBrk="1" latinLnBrk="0" hangingPunct="1">
        <a:spcBef>
          <a:spcPct val="20000"/>
        </a:spcBef>
        <a:buClr>
          <a:srgbClr val="1A9AFA"/>
        </a:buClr>
        <a:buSzPct val="70000"/>
        <a:buFont typeface="Arial" panose="020B0604020202020204" pitchFamily="34" charset="0"/>
        <a:buChar char="►"/>
        <a:defRPr sz="1600" kern="120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3pPr>
      <a:lvl4pPr marL="1081088" indent="-277813" algn="l" defTabSz="914400" rtl="0" eaLnBrk="1" latinLnBrk="0" hangingPunct="1">
        <a:spcBef>
          <a:spcPct val="20000"/>
        </a:spcBef>
        <a:buClr>
          <a:srgbClr val="1A9AFA"/>
        </a:buClr>
        <a:buSzPct val="70000"/>
        <a:buFont typeface="Arial" panose="020B0604020202020204" pitchFamily="34" charset="0"/>
        <a:buChar char="►"/>
        <a:defRPr sz="1600" kern="120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4pPr>
      <a:lvl5pPr marL="1347788" indent="-266700" algn="l" defTabSz="914400" rtl="0" eaLnBrk="1" latinLnBrk="0" hangingPunct="1">
        <a:spcBef>
          <a:spcPct val="20000"/>
        </a:spcBef>
        <a:buClr>
          <a:srgbClr val="1A9AFA"/>
        </a:buClr>
        <a:buSzPct val="70000"/>
        <a:buFont typeface="Arial" panose="020B0604020202020204" pitchFamily="34" charset="0"/>
        <a:buChar char="►"/>
        <a:defRPr sz="1600" kern="1200">
          <a:solidFill>
            <a:schemeClr val="bg1"/>
          </a:solidFill>
          <a:latin typeface="EYInterstate Light" panose="02000506000000020004" pitchFamily="2" charset="0"/>
          <a:ea typeface="+mn-ea"/>
          <a:cs typeface="Arial" panose="020B0604020202020204" pitchFamily="34" charset="0"/>
          <a:sym typeface="EYInterstate Light" panose="02000506000000020004" pitchFamily="2"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100" kern="1200">
          <a:solidFill>
            <a:schemeClr val="tx1"/>
          </a:solidFill>
          <a:latin typeface="+mn-lt"/>
          <a:ea typeface="+mn-ea"/>
          <a:cs typeface="+mn-cs"/>
        </a:defRPr>
      </a:lvl6pPr>
      <a:lvl7pPr marL="2743200" algn="l" defTabSz="914400" rtl="0" eaLnBrk="1" latinLnBrk="0" hangingPunct="1">
        <a:defRPr sz="1100" kern="1200">
          <a:solidFill>
            <a:schemeClr val="tx1"/>
          </a:solidFill>
          <a:latin typeface="+mn-lt"/>
          <a:ea typeface="+mn-ea"/>
          <a:cs typeface="+mn-cs"/>
        </a:defRPr>
      </a:lvl7pPr>
      <a:lvl8pPr marL="3200400" algn="l" defTabSz="914400" rtl="0" eaLnBrk="1" latinLnBrk="0" hangingPunct="1">
        <a:defRPr sz="1100" kern="1200">
          <a:solidFill>
            <a:schemeClr val="tx1"/>
          </a:solidFill>
          <a:latin typeface="+mn-lt"/>
          <a:ea typeface="+mn-ea"/>
          <a:cs typeface="+mn-cs"/>
        </a:defRPr>
      </a:lvl8pPr>
      <a:lvl9pPr marL="3657600" algn="l" defTabSz="914400" rtl="0" eaLnBrk="1" latinLnBrk="0" hangingPunct="1">
        <a:defRPr sz="1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userDrawn="1">
          <p15:clr>
            <a:srgbClr val="F26B43"/>
          </p15:clr>
        </p15:guide>
        <p15:guide id="2" pos="7296" userDrawn="1">
          <p15:clr>
            <a:srgbClr val="F26B43"/>
          </p15:clr>
        </p15:guide>
        <p15:guide id="3" orient="horz" pos="805" userDrawn="1">
          <p15:clr>
            <a:srgbClr val="F26B43"/>
          </p15:clr>
        </p15:guide>
        <p15:guide id="4" orient="horz" pos="38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40.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xml"/><Relationship Id="rId1" Type="http://schemas.openxmlformats.org/officeDocument/2006/relationships/tags" Target="../tags/tag79.xml"/><Relationship Id="rId5" Type="http://schemas.openxmlformats.org/officeDocument/2006/relationships/image" Target="../media/image7.emf"/><Relationship Id="rId4" Type="http://schemas.openxmlformats.org/officeDocument/2006/relationships/oleObject" Target="../embeddings/oleObject58.bin"/></Relationships>
</file>

<file path=ppt/slides/_rels/slide6.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oleObject" Target="../embeddings/oleObject59.bin"/><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5.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chart" Target="../charts/chart1.xml"/><Relationship Id="rId10" Type="http://schemas.openxmlformats.org/officeDocument/2006/relationships/tags" Target="../tags/tag89.xml"/><Relationship Id="rId19" Type="http://schemas.openxmlformats.org/officeDocument/2006/relationships/slideLayout" Target="../slideLayouts/slideLayout41.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tags" Target="../tags/tag123.xml"/><Relationship Id="rId39" Type="http://schemas.openxmlformats.org/officeDocument/2006/relationships/chart" Target="../charts/chart2.xml"/><Relationship Id="rId3" Type="http://schemas.openxmlformats.org/officeDocument/2006/relationships/tags" Target="../tags/tag100.xml"/><Relationship Id="rId21" Type="http://schemas.openxmlformats.org/officeDocument/2006/relationships/tags" Target="../tags/tag118.xml"/><Relationship Id="rId34" Type="http://schemas.openxmlformats.org/officeDocument/2006/relationships/tags" Target="../tags/tag131.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image" Target="../media/image1.emf"/><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29" Type="http://schemas.openxmlformats.org/officeDocument/2006/relationships/tags" Target="../tags/tag126.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oleObject" Target="../embeddings/oleObject60.bin"/><Relationship Id="rId40" Type="http://schemas.openxmlformats.org/officeDocument/2006/relationships/chart" Target="../charts/chart3.xml"/><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notesSlide" Target="../notesSlides/notesSlide6.xml"/><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hyperlink" Target="https://eygb.sharepoint.com/sites/TheBrandingZone/SitePages/OutlineIllustrations.aspx" TargetMode="Externa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0BAC29-BA82-4169-B0B6-D91FC922CFB1}"/>
              </a:ext>
            </a:extLst>
          </p:cNvPr>
          <p:cNvGraphicFramePr>
            <a:graphicFrameLocks noChangeAspect="1"/>
          </p:cNvGraphicFramePr>
          <p:nvPr>
            <p:custDataLst>
              <p:tags r:id="rId1"/>
            </p:custDataLst>
            <p:extLst>
              <p:ext uri="{D42A27DB-BD31-4B8C-83A1-F6EECF244321}">
                <p14:modId xmlns:p14="http://schemas.microsoft.com/office/powerpoint/2010/main" val="167790339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BC0BAC29-BA82-4169-B0B6-D91FC922CFB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00E89B01-61E5-46EB-A37D-2FB8FDE2F256}"/>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000" dirty="0" err="1">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ctrTitle"/>
          </p:nvPr>
        </p:nvSpPr>
        <p:spPr>
          <a:xfrm>
            <a:off x="854838" y="446148"/>
            <a:ext cx="4265802" cy="2993012"/>
          </a:xfrm>
        </p:spPr>
        <p:txBody>
          <a:bodyPr vert="horz" anchor="ctr">
            <a:noAutofit/>
          </a:bodyPr>
          <a:lstStyle/>
          <a:p>
            <a:pPr lvl="0"/>
            <a:r>
              <a:rPr lang="en-US" sz="3600" dirty="0"/>
              <a:t>Group A – BYOP IPBA Batch-13, Indian Institute of Management- Indore</a:t>
            </a:r>
            <a:endParaRPr lang="en-GB" sz="3600" dirty="0"/>
          </a:p>
        </p:txBody>
      </p:sp>
      <p:sp>
        <p:nvSpPr>
          <p:cNvPr id="19" name="Text Placeholder 18">
            <a:extLst>
              <a:ext uri="{FF2B5EF4-FFF2-40B4-BE49-F238E27FC236}">
                <a16:creationId xmlns:a16="http://schemas.microsoft.com/office/drawing/2014/main" id="{13A212ED-3694-42BC-9F57-5E2A6A029A6D}"/>
              </a:ext>
            </a:extLst>
          </p:cNvPr>
          <p:cNvSpPr>
            <a:spLocks noGrp="1"/>
          </p:cNvSpPr>
          <p:nvPr>
            <p:ph type="body" sz="quarter" idx="18"/>
          </p:nvPr>
        </p:nvSpPr>
        <p:spPr>
          <a:xfrm>
            <a:off x="1069418" y="3371740"/>
            <a:ext cx="3808017" cy="423453"/>
          </a:xfrm>
        </p:spPr>
        <p:txBody>
          <a:bodyPr/>
          <a:lstStyle/>
          <a:p>
            <a:r>
              <a:rPr lang="en-US" dirty="0"/>
              <a:t>30</a:t>
            </a:r>
            <a:r>
              <a:rPr lang="en-US" baseline="30000" dirty="0"/>
              <a:t>th</a:t>
            </a:r>
            <a:r>
              <a:rPr lang="en-US" dirty="0"/>
              <a:t> April, 2022</a:t>
            </a:r>
            <a:endParaRPr lang="en-US" sz="1600" dirty="0">
              <a:sym typeface="EYInterstate Light" panose="02000506000000020004" pitchFamily="2" charset="0"/>
            </a:endParaRPr>
          </a:p>
        </p:txBody>
      </p:sp>
      <p:sp>
        <p:nvSpPr>
          <p:cNvPr id="12" name="TextBox 11">
            <a:extLst>
              <a:ext uri="{FF2B5EF4-FFF2-40B4-BE49-F238E27FC236}">
                <a16:creationId xmlns:a16="http://schemas.microsoft.com/office/drawing/2014/main" id="{F5228E36-0206-45EB-B093-838C525D6A90}"/>
              </a:ext>
            </a:extLst>
          </p:cNvPr>
          <p:cNvSpPr txBox="1"/>
          <p:nvPr/>
        </p:nvSpPr>
        <p:spPr>
          <a:xfrm>
            <a:off x="168156" y="5297250"/>
            <a:ext cx="11038324" cy="523220"/>
          </a:xfrm>
          <a:prstGeom prst="rect">
            <a:avLst/>
          </a:prstGeom>
          <a:noFill/>
        </p:spPr>
        <p:txBody>
          <a:bodyPr wrap="square">
            <a:spAutoFit/>
          </a:bodyPr>
          <a:lstStyle/>
          <a:p>
            <a:pPr lvl="0"/>
            <a:r>
              <a:rPr lang="en-US" sz="2800" dirty="0"/>
              <a:t>Clustering and Market Segmentation using Data Science and ML</a:t>
            </a:r>
            <a:endParaRPr lang="en-GB" sz="2800" dirty="0"/>
          </a:p>
        </p:txBody>
      </p:sp>
    </p:spTree>
    <p:extLst>
      <p:ext uri="{BB962C8B-B14F-4D97-AF65-F5344CB8AC3E}">
        <p14:creationId xmlns:p14="http://schemas.microsoft.com/office/powerpoint/2010/main" val="411689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plash of colors on a white surface">
            <a:extLst>
              <a:ext uri="{FF2B5EF4-FFF2-40B4-BE49-F238E27FC236}">
                <a16:creationId xmlns:a16="http://schemas.microsoft.com/office/drawing/2014/main" id="{D2C3C1C0-6353-4465-BBD9-0DA3D3F071C6}"/>
              </a:ext>
            </a:extLst>
          </p:cNvPr>
          <p:cNvPicPr>
            <a:picLocks noChangeAspect="1"/>
          </p:cNvPicPr>
          <p:nvPr/>
        </p:nvPicPr>
        <p:blipFill rotWithShape="1">
          <a:blip r:embed="rId3"/>
          <a:srcRect l="1" r="29532"/>
          <a:stretch/>
        </p:blipFill>
        <p:spPr>
          <a:xfrm>
            <a:off x="6441440" y="0"/>
            <a:ext cx="5630715" cy="6857990"/>
          </a:xfrm>
          <a:custGeom>
            <a:avLst/>
            <a:gdLst/>
            <a:ahLst/>
            <a:cxnLst/>
            <a:rect l="l" t="t" r="r" b="b"/>
            <a:pathLst>
              <a:path w="8234792" h="6821666">
                <a:moveTo>
                  <a:pt x="2322410" y="0"/>
                </a:moveTo>
                <a:lnTo>
                  <a:pt x="8234792" y="0"/>
                </a:lnTo>
                <a:lnTo>
                  <a:pt x="8234792" y="4503719"/>
                </a:lnTo>
                <a:lnTo>
                  <a:pt x="8215888" y="4629599"/>
                </a:lnTo>
                <a:cubicBezTo>
                  <a:pt x="8049795" y="5454493"/>
                  <a:pt x="7647096" y="6191792"/>
                  <a:pt x="7082996" y="6765066"/>
                </a:cubicBezTo>
                <a:lnTo>
                  <a:pt x="7021717" y="6821666"/>
                </a:lnTo>
                <a:lnTo>
                  <a:pt x="0" y="6821666"/>
                </a:lnTo>
                <a:lnTo>
                  <a:pt x="0" y="3790727"/>
                </a:lnTo>
                <a:cubicBezTo>
                  <a:pt x="0" y="2186928"/>
                  <a:pt x="879517" y="791919"/>
                  <a:pt x="2175128" y="76659"/>
                </a:cubicBezTo>
                <a:close/>
              </a:path>
            </a:pathLst>
          </a:custGeom>
        </p:spPr>
      </p:pic>
      <p:sp>
        <p:nvSpPr>
          <p:cNvPr id="9" name="Rectangle 8">
            <a:extLst>
              <a:ext uri="{FF2B5EF4-FFF2-40B4-BE49-F238E27FC236}">
                <a16:creationId xmlns:a16="http://schemas.microsoft.com/office/drawing/2014/main" id="{4E45AB16-BC44-4B94-91BA-8DD101C71C8A}"/>
              </a:ext>
            </a:extLst>
          </p:cNvPr>
          <p:cNvSpPr/>
          <p:nvPr/>
        </p:nvSpPr>
        <p:spPr>
          <a:xfrm>
            <a:off x="-2075" y="1"/>
            <a:ext cx="6443516" cy="6857999"/>
          </a:xfrm>
          <a:prstGeom prst="rect">
            <a:avLst/>
          </a:prstGeom>
          <a:solidFill>
            <a:schemeClr val="bg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9753">
              <a:defRPr/>
            </a:pPr>
            <a:endParaRPr lang="en-IN" sz="1062">
              <a:solidFill>
                <a:srgbClr val="FFFFFF"/>
              </a:solidFill>
              <a:latin typeface="EYInterstate Light"/>
            </a:endParaRPr>
          </a:p>
        </p:txBody>
      </p:sp>
      <p:sp>
        <p:nvSpPr>
          <p:cNvPr id="2" name="Rectangle 1">
            <a:extLst>
              <a:ext uri="{FF2B5EF4-FFF2-40B4-BE49-F238E27FC236}">
                <a16:creationId xmlns:a16="http://schemas.microsoft.com/office/drawing/2014/main" id="{2EF8BBF7-9390-4E82-B964-0BD5E4CAA78E}"/>
              </a:ext>
            </a:extLst>
          </p:cNvPr>
          <p:cNvSpPr/>
          <p:nvPr/>
        </p:nvSpPr>
        <p:spPr>
          <a:xfrm>
            <a:off x="2167098" y="532617"/>
            <a:ext cx="2999540" cy="1073499"/>
          </a:xfrm>
          <a:prstGeom prst="rect">
            <a:avLst/>
          </a:prstGeom>
        </p:spPr>
        <p:txBody>
          <a:bodyPr wrap="none">
            <a:spAutoFit/>
          </a:bodyPr>
          <a:lstStyle/>
          <a:p>
            <a:pPr algn="ctr" defTabSz="809753">
              <a:defRPr/>
            </a:pPr>
            <a:r>
              <a:rPr lang="de-DE" sz="6376">
                <a:solidFill>
                  <a:srgbClr val="FFE600"/>
                </a:solidFill>
                <a:latin typeface="EYInterstate Light"/>
              </a:rPr>
              <a:t>Agenda</a:t>
            </a:r>
            <a:endParaRPr lang="en-IN" sz="6376">
              <a:solidFill>
                <a:srgbClr val="FFE600"/>
              </a:solidFill>
              <a:latin typeface="EYInterstate Light"/>
            </a:endParaRPr>
          </a:p>
        </p:txBody>
      </p:sp>
      <p:sp>
        <p:nvSpPr>
          <p:cNvPr id="26" name="Rectangle 25">
            <a:extLst>
              <a:ext uri="{FF2B5EF4-FFF2-40B4-BE49-F238E27FC236}">
                <a16:creationId xmlns:a16="http://schemas.microsoft.com/office/drawing/2014/main" id="{18A31AFE-7562-4667-A388-4E54D7588630}"/>
              </a:ext>
            </a:extLst>
          </p:cNvPr>
          <p:cNvSpPr/>
          <p:nvPr/>
        </p:nvSpPr>
        <p:spPr>
          <a:xfrm>
            <a:off x="2323534" y="392584"/>
            <a:ext cx="2831003" cy="14003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9753">
              <a:defRPr/>
            </a:pPr>
            <a:endParaRPr lang="en-IN" sz="1062">
              <a:solidFill>
                <a:srgbClr val="FFFFFF"/>
              </a:solidFill>
              <a:latin typeface="EYInterstate Light"/>
            </a:endParaRPr>
          </a:p>
        </p:txBody>
      </p:sp>
      <p:sp>
        <p:nvSpPr>
          <p:cNvPr id="4" name="TextBox 3">
            <a:extLst>
              <a:ext uri="{FF2B5EF4-FFF2-40B4-BE49-F238E27FC236}">
                <a16:creationId xmlns:a16="http://schemas.microsoft.com/office/drawing/2014/main" id="{E305FEB3-3D98-4B0F-B3CC-08317ABD4F22}"/>
              </a:ext>
            </a:extLst>
          </p:cNvPr>
          <p:cNvSpPr txBox="1"/>
          <p:nvPr/>
        </p:nvSpPr>
        <p:spPr>
          <a:xfrm>
            <a:off x="-1" y="1678415"/>
            <a:ext cx="6441439" cy="4239066"/>
          </a:xfrm>
          <a:prstGeom prst="rect">
            <a:avLst/>
          </a:prstGeom>
          <a:solidFill>
            <a:schemeClr val="tx1">
              <a:alpha val="43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32405" rIns="0" bIns="0" rtlCol="0">
            <a:spAutoFit/>
          </a:bodyPr>
          <a:lstStyle/>
          <a:p>
            <a:pPr marL="862279" lvl="1" indent="-457200" defTabSz="894091">
              <a:lnSpc>
                <a:spcPct val="114000"/>
              </a:lnSpc>
              <a:buClr>
                <a:srgbClr val="FFFFFF"/>
              </a:buClr>
              <a:buSzPct val="70000"/>
              <a:buAutoNum type="arabicPeriod"/>
              <a:defRPr/>
            </a:pPr>
            <a:r>
              <a:rPr lang="en-IN" sz="2126" dirty="0">
                <a:solidFill>
                  <a:srgbClr val="FFFFFF"/>
                </a:solidFill>
                <a:latin typeface="EYInterstate Light"/>
              </a:rPr>
              <a:t>BYOP Project Brief</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Problem Statement</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Approach &amp; Methodology</a:t>
            </a:r>
          </a:p>
          <a:p>
            <a:pPr marL="862279" lvl="1" indent="-457200" defTabSz="894091">
              <a:lnSpc>
                <a:spcPct val="114000"/>
              </a:lnSpc>
              <a:buClr>
                <a:srgbClr val="FFFFFF"/>
              </a:buClr>
              <a:buSzPct val="70000"/>
              <a:buFont typeface="+mj-lt"/>
              <a:buAutoNum type="arabicPeriod"/>
              <a:defRPr/>
            </a:pPr>
            <a:r>
              <a:rPr lang="en-IN" sz="2000" dirty="0">
                <a:solidFill>
                  <a:srgbClr val="FFFFFF"/>
                </a:solidFill>
                <a:latin typeface="EYInterstate Light"/>
              </a:rPr>
              <a:t>Exploratory Data Analysis</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Regional Trend</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Retailer &amp; Product-wise Trend</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Sales and Profitability Trend</a:t>
            </a:r>
          </a:p>
          <a:p>
            <a:pPr marL="862279" lvl="1" indent="-457200" defTabSz="894091">
              <a:lnSpc>
                <a:spcPct val="114000"/>
              </a:lnSpc>
              <a:buClr>
                <a:srgbClr val="FFFFFF"/>
              </a:buClr>
              <a:buSzPct val="70000"/>
              <a:buFont typeface="+mj-lt"/>
              <a:buAutoNum type="arabicPeriod"/>
              <a:defRPr/>
            </a:pPr>
            <a:r>
              <a:rPr lang="en-IN" sz="2000" dirty="0">
                <a:solidFill>
                  <a:srgbClr val="FFFFFF"/>
                </a:solidFill>
                <a:latin typeface="EYInterstate Light"/>
              </a:rPr>
              <a:t>Market segmentation</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K-means Clustering</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Hierarchical Clustering</a:t>
            </a:r>
          </a:p>
          <a:p>
            <a:pPr marL="1319479" lvl="2" indent="-457200" defTabSz="894091">
              <a:lnSpc>
                <a:spcPct val="114000"/>
              </a:lnSpc>
              <a:buClr>
                <a:srgbClr val="FFFFFF"/>
              </a:buClr>
              <a:buSzPct val="70000"/>
              <a:buFont typeface="Wingdings" panose="05000000000000000000" pitchFamily="2" charset="2"/>
              <a:buChar char="ü"/>
              <a:defRPr/>
            </a:pPr>
            <a:r>
              <a:rPr lang="en-IN" sz="2000" dirty="0">
                <a:solidFill>
                  <a:srgbClr val="FFFFFF"/>
                </a:solidFill>
                <a:latin typeface="EYInterstate Light"/>
              </a:rPr>
              <a:t>Inferring cluster characteristics</a:t>
            </a:r>
          </a:p>
          <a:p>
            <a:pPr marL="862279" lvl="1" indent="-457200" defTabSz="894091">
              <a:lnSpc>
                <a:spcPct val="114000"/>
              </a:lnSpc>
              <a:buClr>
                <a:srgbClr val="FFFFFF"/>
              </a:buClr>
              <a:buSzPct val="70000"/>
              <a:buFont typeface="+mj-lt"/>
              <a:buAutoNum type="arabicPeriod"/>
              <a:defRPr/>
            </a:pPr>
            <a:r>
              <a:rPr lang="en-IN" sz="2000" dirty="0">
                <a:solidFill>
                  <a:srgbClr val="FFFFFF"/>
                </a:solidFill>
                <a:latin typeface="EYInterstate Light"/>
              </a:rPr>
              <a:t>Recommendation &amp; Business Strategy</a:t>
            </a:r>
          </a:p>
        </p:txBody>
      </p:sp>
    </p:spTree>
    <p:extLst>
      <p:ext uri="{BB962C8B-B14F-4D97-AF65-F5344CB8AC3E}">
        <p14:creationId xmlns:p14="http://schemas.microsoft.com/office/powerpoint/2010/main" val="576308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0BAC29-BA82-4169-B0B6-D91FC922CFB1}"/>
              </a:ext>
            </a:extLst>
          </p:cNvPr>
          <p:cNvGraphicFramePr>
            <a:graphicFrameLocks noChangeAspect="1"/>
          </p:cNvGraphicFramePr>
          <p:nvPr>
            <p:custDataLst>
              <p:tags r:id="rId1"/>
            </p:custDataLst>
            <p:extLst>
              <p:ext uri="{D42A27DB-BD31-4B8C-83A1-F6EECF244321}">
                <p14:modId xmlns:p14="http://schemas.microsoft.com/office/powerpoint/2010/main" val="199936246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BC0BAC29-BA82-4169-B0B6-D91FC922CFB1}"/>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00E89B01-61E5-46EB-A37D-2FB8FDE2F256}"/>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err="1">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6" name="Title 5">
            <a:extLst>
              <a:ext uri="{FF2B5EF4-FFF2-40B4-BE49-F238E27FC236}">
                <a16:creationId xmlns:a16="http://schemas.microsoft.com/office/drawing/2014/main" id="{3A675D48-E4E5-408C-A6C7-FE387E4C619F}"/>
              </a:ext>
            </a:extLst>
          </p:cNvPr>
          <p:cNvSpPr>
            <a:spLocks noGrp="1"/>
          </p:cNvSpPr>
          <p:nvPr>
            <p:ph type="ctrTitle"/>
          </p:nvPr>
        </p:nvSpPr>
        <p:spPr>
          <a:xfrm>
            <a:off x="773558" y="1578988"/>
            <a:ext cx="4347082" cy="868680"/>
          </a:xfrm>
        </p:spPr>
        <p:txBody>
          <a:bodyPr vert="horz"/>
          <a:lstStyle/>
          <a:p>
            <a:pPr marL="405079" lvl="1" algn="ctr" defTabSz="894091">
              <a:lnSpc>
                <a:spcPct val="114000"/>
              </a:lnSpc>
              <a:buClr>
                <a:srgbClr val="FFFFFF"/>
              </a:buClr>
              <a:buSzPct val="70000"/>
              <a:defRPr/>
            </a:pPr>
            <a:r>
              <a:rPr lang="en-IN" sz="4000" b="1" dirty="0">
                <a:solidFill>
                  <a:srgbClr val="FFFFFF"/>
                </a:solidFill>
                <a:latin typeface="EYInterstate Light"/>
              </a:rPr>
              <a:t>BYOP Project Brief</a:t>
            </a:r>
          </a:p>
        </p:txBody>
      </p:sp>
    </p:spTree>
    <p:extLst>
      <p:ext uri="{BB962C8B-B14F-4D97-AF65-F5344CB8AC3E}">
        <p14:creationId xmlns:p14="http://schemas.microsoft.com/office/powerpoint/2010/main" val="453516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F8CFA-93A6-459E-87C8-DA9AED66D421}"/>
              </a:ext>
            </a:extLst>
          </p:cNvPr>
          <p:cNvSpPr>
            <a:spLocks noGrp="1"/>
          </p:cNvSpPr>
          <p:nvPr>
            <p:ph type="title"/>
          </p:nvPr>
        </p:nvSpPr>
        <p:spPr/>
        <p:txBody>
          <a:bodyPr/>
          <a:lstStyle/>
          <a:p>
            <a:r>
              <a:rPr lang="en-IN" sz="2400" b="1" dirty="0">
                <a:solidFill>
                  <a:schemeClr val="bg1"/>
                </a:solidFill>
                <a:latin typeface="+mj-lt"/>
              </a:rPr>
              <a:t>BYOP Project Brief</a:t>
            </a:r>
            <a:endParaRPr lang="en-IN" dirty="0">
              <a:latin typeface="+mj-lt"/>
            </a:endParaRPr>
          </a:p>
        </p:txBody>
      </p:sp>
      <p:sp>
        <p:nvSpPr>
          <p:cNvPr id="5" name="Text Placeholder 4">
            <a:extLst>
              <a:ext uri="{FF2B5EF4-FFF2-40B4-BE49-F238E27FC236}">
                <a16:creationId xmlns:a16="http://schemas.microsoft.com/office/drawing/2014/main" id="{E88A299D-16C6-418B-88A5-9DB8E1FEAF0C}"/>
              </a:ext>
            </a:extLst>
          </p:cNvPr>
          <p:cNvSpPr>
            <a:spLocks noGrp="1"/>
          </p:cNvSpPr>
          <p:nvPr>
            <p:ph type="body" sz="quarter" idx="11"/>
          </p:nvPr>
        </p:nvSpPr>
        <p:spPr/>
        <p:txBody>
          <a:bodyPr/>
          <a:lstStyle/>
          <a:p>
            <a:endParaRPr lang="en-IN" dirty="0">
              <a:latin typeface="+mj-lt"/>
            </a:endParaRPr>
          </a:p>
        </p:txBody>
      </p:sp>
      <p:sp>
        <p:nvSpPr>
          <p:cNvPr id="10" name="Rectangle 9">
            <a:extLst>
              <a:ext uri="{FF2B5EF4-FFF2-40B4-BE49-F238E27FC236}">
                <a16:creationId xmlns:a16="http://schemas.microsoft.com/office/drawing/2014/main" id="{630268A6-9C6F-4374-85C6-B31BF949AD91}"/>
              </a:ext>
            </a:extLst>
          </p:cNvPr>
          <p:cNvSpPr/>
          <p:nvPr/>
        </p:nvSpPr>
        <p:spPr>
          <a:xfrm>
            <a:off x="615366" y="1174988"/>
            <a:ext cx="1264234" cy="1314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100" dirty="0" err="1">
              <a:solidFill>
                <a:schemeClr val="tx1"/>
              </a:solidFill>
              <a:latin typeface="+mj-lt"/>
            </a:endParaRPr>
          </a:p>
        </p:txBody>
      </p:sp>
      <p:sp>
        <p:nvSpPr>
          <p:cNvPr id="11" name="Rectangle 10">
            <a:extLst>
              <a:ext uri="{FF2B5EF4-FFF2-40B4-BE49-F238E27FC236}">
                <a16:creationId xmlns:a16="http://schemas.microsoft.com/office/drawing/2014/main" id="{4492CE46-315F-4EA6-A281-4DDA9E2D7CDE}"/>
              </a:ext>
            </a:extLst>
          </p:cNvPr>
          <p:cNvSpPr/>
          <p:nvPr/>
        </p:nvSpPr>
        <p:spPr>
          <a:xfrm>
            <a:off x="1879600" y="1544320"/>
            <a:ext cx="2560320" cy="94488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bg1"/>
                </a:solidFill>
                <a:latin typeface="+mj-lt"/>
              </a:rPr>
              <a:t>RETAIL </a:t>
            </a:r>
          </a:p>
        </p:txBody>
      </p:sp>
      <p:sp>
        <p:nvSpPr>
          <p:cNvPr id="13" name="TextBox 12">
            <a:extLst>
              <a:ext uri="{FF2B5EF4-FFF2-40B4-BE49-F238E27FC236}">
                <a16:creationId xmlns:a16="http://schemas.microsoft.com/office/drawing/2014/main" id="{8F0C66AD-B975-4043-8975-597C61E49947}"/>
              </a:ext>
            </a:extLst>
          </p:cNvPr>
          <p:cNvSpPr txBox="1"/>
          <p:nvPr/>
        </p:nvSpPr>
        <p:spPr>
          <a:xfrm>
            <a:off x="1879600" y="1174988"/>
            <a:ext cx="2560320" cy="369332"/>
          </a:xfrm>
          <a:prstGeom prst="rect">
            <a:avLst/>
          </a:prstGeom>
          <a:solidFill>
            <a:schemeClr val="tx2"/>
          </a:solidFill>
        </p:spPr>
        <p:txBody>
          <a:bodyPr wrap="square">
            <a:spAutoFit/>
          </a:bodyPr>
          <a:lstStyle/>
          <a:p>
            <a:pPr algn="ctr"/>
            <a:r>
              <a:rPr lang="en-IN" sz="1800" b="1" dirty="0">
                <a:solidFill>
                  <a:schemeClr val="bg1"/>
                </a:solidFill>
                <a:latin typeface="+mj-lt"/>
              </a:rPr>
              <a:t>Domain?</a:t>
            </a:r>
            <a:endParaRPr lang="en-IN" dirty="0">
              <a:latin typeface="+mj-lt"/>
            </a:endParaRPr>
          </a:p>
        </p:txBody>
      </p:sp>
      <p:sp>
        <p:nvSpPr>
          <p:cNvPr id="14" name="Rectangle 13">
            <a:extLst>
              <a:ext uri="{FF2B5EF4-FFF2-40B4-BE49-F238E27FC236}">
                <a16:creationId xmlns:a16="http://schemas.microsoft.com/office/drawing/2014/main" id="{50C3EB28-DB20-494B-B64E-B2F084F5DDD8}"/>
              </a:ext>
            </a:extLst>
          </p:cNvPr>
          <p:cNvSpPr/>
          <p:nvPr/>
        </p:nvSpPr>
        <p:spPr>
          <a:xfrm>
            <a:off x="4533234" y="1194628"/>
            <a:ext cx="1264234" cy="131421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100" dirty="0" err="1">
              <a:solidFill>
                <a:schemeClr val="tx1"/>
              </a:solidFill>
              <a:latin typeface="+mj-lt"/>
            </a:endParaRPr>
          </a:p>
        </p:txBody>
      </p:sp>
      <p:sp>
        <p:nvSpPr>
          <p:cNvPr id="15" name="Rectangle 14">
            <a:extLst>
              <a:ext uri="{FF2B5EF4-FFF2-40B4-BE49-F238E27FC236}">
                <a16:creationId xmlns:a16="http://schemas.microsoft.com/office/drawing/2014/main" id="{E6DA544E-94CC-404A-971C-1828366A7F27}"/>
              </a:ext>
            </a:extLst>
          </p:cNvPr>
          <p:cNvSpPr/>
          <p:nvPr/>
        </p:nvSpPr>
        <p:spPr>
          <a:xfrm>
            <a:off x="5797468" y="1563960"/>
            <a:ext cx="2560320" cy="94488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bg1"/>
                </a:solidFill>
                <a:latin typeface="+mj-lt"/>
              </a:rPr>
              <a:t>Adidas US sales dataset</a:t>
            </a:r>
          </a:p>
        </p:txBody>
      </p:sp>
      <p:sp>
        <p:nvSpPr>
          <p:cNvPr id="16" name="TextBox 15">
            <a:extLst>
              <a:ext uri="{FF2B5EF4-FFF2-40B4-BE49-F238E27FC236}">
                <a16:creationId xmlns:a16="http://schemas.microsoft.com/office/drawing/2014/main" id="{5519D271-16FE-4428-956F-988C9A15C91E}"/>
              </a:ext>
            </a:extLst>
          </p:cNvPr>
          <p:cNvSpPr txBox="1"/>
          <p:nvPr/>
        </p:nvSpPr>
        <p:spPr>
          <a:xfrm>
            <a:off x="5797468" y="1194628"/>
            <a:ext cx="2560320" cy="369332"/>
          </a:xfrm>
          <a:prstGeom prst="rect">
            <a:avLst/>
          </a:prstGeom>
          <a:solidFill>
            <a:schemeClr val="tx2"/>
          </a:solidFill>
        </p:spPr>
        <p:txBody>
          <a:bodyPr wrap="square">
            <a:spAutoFit/>
          </a:bodyPr>
          <a:lstStyle/>
          <a:p>
            <a:pPr algn="ctr"/>
            <a:r>
              <a:rPr lang="en-IN" sz="1800" b="1" dirty="0">
                <a:solidFill>
                  <a:schemeClr val="bg1"/>
                </a:solidFill>
                <a:latin typeface="+mj-lt"/>
              </a:rPr>
              <a:t>About the dataset?</a:t>
            </a:r>
            <a:endParaRPr lang="en-IN" dirty="0">
              <a:latin typeface="+mj-lt"/>
            </a:endParaRPr>
          </a:p>
        </p:txBody>
      </p:sp>
      <p:sp>
        <p:nvSpPr>
          <p:cNvPr id="17" name="TextBox 16">
            <a:extLst>
              <a:ext uri="{FF2B5EF4-FFF2-40B4-BE49-F238E27FC236}">
                <a16:creationId xmlns:a16="http://schemas.microsoft.com/office/drawing/2014/main" id="{564F0315-9D17-4500-92B3-8B31487E8B06}"/>
              </a:ext>
            </a:extLst>
          </p:cNvPr>
          <p:cNvSpPr txBox="1"/>
          <p:nvPr/>
        </p:nvSpPr>
        <p:spPr>
          <a:xfrm>
            <a:off x="8804828" y="1665560"/>
            <a:ext cx="1436452" cy="276999"/>
          </a:xfrm>
          <a:prstGeom prst="rect">
            <a:avLst/>
          </a:prstGeom>
          <a:solidFill>
            <a:schemeClr val="tx1">
              <a:lumMod val="95000"/>
            </a:schemeClr>
          </a:solidFill>
        </p:spPr>
        <p:txBody>
          <a:bodyPr wrap="square">
            <a:spAutoFit/>
          </a:bodyPr>
          <a:lstStyle/>
          <a:p>
            <a:pPr algn="ctr"/>
            <a:r>
              <a:rPr lang="en-IN" sz="1200" b="1" dirty="0">
                <a:solidFill>
                  <a:schemeClr val="bg2"/>
                </a:solidFill>
                <a:latin typeface="+mj-lt"/>
              </a:rPr>
              <a:t>Units sold</a:t>
            </a:r>
          </a:p>
        </p:txBody>
      </p:sp>
      <p:sp>
        <p:nvSpPr>
          <p:cNvPr id="18" name="TextBox 17">
            <a:extLst>
              <a:ext uri="{FF2B5EF4-FFF2-40B4-BE49-F238E27FC236}">
                <a16:creationId xmlns:a16="http://schemas.microsoft.com/office/drawing/2014/main" id="{517BC6DB-FFF7-4E9D-9DAD-798AB7131829}"/>
              </a:ext>
            </a:extLst>
          </p:cNvPr>
          <p:cNvSpPr txBox="1"/>
          <p:nvPr/>
        </p:nvSpPr>
        <p:spPr>
          <a:xfrm>
            <a:off x="8804828" y="2097360"/>
            <a:ext cx="1436452" cy="276999"/>
          </a:xfrm>
          <a:prstGeom prst="rect">
            <a:avLst/>
          </a:prstGeom>
          <a:solidFill>
            <a:schemeClr val="tx1">
              <a:lumMod val="95000"/>
            </a:schemeClr>
          </a:solidFill>
        </p:spPr>
        <p:txBody>
          <a:bodyPr wrap="square">
            <a:spAutoFit/>
          </a:bodyPr>
          <a:lstStyle/>
          <a:p>
            <a:pPr algn="ctr"/>
            <a:r>
              <a:rPr lang="en-IN" sz="1200" b="1" dirty="0">
                <a:solidFill>
                  <a:schemeClr val="bg2"/>
                </a:solidFill>
                <a:latin typeface="+mj-lt"/>
              </a:rPr>
              <a:t>Sales Revenue</a:t>
            </a:r>
          </a:p>
        </p:txBody>
      </p:sp>
      <p:sp>
        <p:nvSpPr>
          <p:cNvPr id="19" name="TextBox 18">
            <a:extLst>
              <a:ext uri="{FF2B5EF4-FFF2-40B4-BE49-F238E27FC236}">
                <a16:creationId xmlns:a16="http://schemas.microsoft.com/office/drawing/2014/main" id="{46892D49-071A-4CB3-A22D-65BF865ECCBF}"/>
              </a:ext>
            </a:extLst>
          </p:cNvPr>
          <p:cNvSpPr txBox="1"/>
          <p:nvPr/>
        </p:nvSpPr>
        <p:spPr>
          <a:xfrm>
            <a:off x="10281920" y="1665560"/>
            <a:ext cx="1436452" cy="276999"/>
          </a:xfrm>
          <a:prstGeom prst="rect">
            <a:avLst/>
          </a:prstGeom>
          <a:solidFill>
            <a:schemeClr val="tx1">
              <a:lumMod val="95000"/>
            </a:schemeClr>
          </a:solidFill>
        </p:spPr>
        <p:txBody>
          <a:bodyPr wrap="square">
            <a:spAutoFit/>
          </a:bodyPr>
          <a:lstStyle/>
          <a:p>
            <a:pPr algn="ctr"/>
            <a:r>
              <a:rPr lang="en-IN" sz="1200" b="1" dirty="0">
                <a:solidFill>
                  <a:schemeClr val="bg2"/>
                </a:solidFill>
                <a:latin typeface="+mj-lt"/>
              </a:rPr>
              <a:t>Sales Location</a:t>
            </a:r>
          </a:p>
        </p:txBody>
      </p:sp>
      <p:sp>
        <p:nvSpPr>
          <p:cNvPr id="20" name="TextBox 19">
            <a:extLst>
              <a:ext uri="{FF2B5EF4-FFF2-40B4-BE49-F238E27FC236}">
                <a16:creationId xmlns:a16="http://schemas.microsoft.com/office/drawing/2014/main" id="{AC08737F-9804-4B2D-9146-29A5B043A5E5}"/>
              </a:ext>
            </a:extLst>
          </p:cNvPr>
          <p:cNvSpPr txBox="1"/>
          <p:nvPr/>
        </p:nvSpPr>
        <p:spPr>
          <a:xfrm>
            <a:off x="10287000" y="2097360"/>
            <a:ext cx="1436452" cy="276999"/>
          </a:xfrm>
          <a:prstGeom prst="rect">
            <a:avLst/>
          </a:prstGeom>
          <a:solidFill>
            <a:schemeClr val="tx1">
              <a:lumMod val="95000"/>
            </a:schemeClr>
          </a:solidFill>
        </p:spPr>
        <p:txBody>
          <a:bodyPr wrap="square">
            <a:spAutoFit/>
          </a:bodyPr>
          <a:lstStyle/>
          <a:p>
            <a:pPr algn="ctr"/>
            <a:r>
              <a:rPr lang="en-IN" sz="1200" b="1" dirty="0">
                <a:solidFill>
                  <a:schemeClr val="bg2"/>
                </a:solidFill>
                <a:latin typeface="+mj-lt"/>
              </a:rPr>
              <a:t>Product Type</a:t>
            </a:r>
          </a:p>
        </p:txBody>
      </p:sp>
      <p:sp>
        <p:nvSpPr>
          <p:cNvPr id="21" name="Rectangle 20">
            <a:extLst>
              <a:ext uri="{FF2B5EF4-FFF2-40B4-BE49-F238E27FC236}">
                <a16:creationId xmlns:a16="http://schemas.microsoft.com/office/drawing/2014/main" id="{D43EFED7-C323-4AD1-B58C-E5FF3069557E}"/>
              </a:ext>
            </a:extLst>
          </p:cNvPr>
          <p:cNvSpPr/>
          <p:nvPr/>
        </p:nvSpPr>
        <p:spPr>
          <a:xfrm>
            <a:off x="637282" y="2726452"/>
            <a:ext cx="1264234" cy="128373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1100" dirty="0" err="1">
              <a:solidFill>
                <a:schemeClr val="tx1"/>
              </a:solidFill>
              <a:latin typeface="+mj-lt"/>
            </a:endParaRPr>
          </a:p>
        </p:txBody>
      </p:sp>
      <p:sp>
        <p:nvSpPr>
          <p:cNvPr id="22" name="Rectangle 21">
            <a:extLst>
              <a:ext uri="{FF2B5EF4-FFF2-40B4-BE49-F238E27FC236}">
                <a16:creationId xmlns:a16="http://schemas.microsoft.com/office/drawing/2014/main" id="{2FCC1E84-06C9-45AB-A39F-E7CBE236E215}"/>
              </a:ext>
            </a:extLst>
          </p:cNvPr>
          <p:cNvSpPr/>
          <p:nvPr/>
        </p:nvSpPr>
        <p:spPr>
          <a:xfrm>
            <a:off x="1901516" y="3075464"/>
            <a:ext cx="2560320" cy="94488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2000" b="1" dirty="0">
                <a:solidFill>
                  <a:schemeClr val="bg1"/>
                </a:solidFill>
                <a:latin typeface="+mj-lt"/>
              </a:rPr>
              <a:t>Market Segmentation based on attributes</a:t>
            </a:r>
          </a:p>
        </p:txBody>
      </p:sp>
      <p:sp>
        <p:nvSpPr>
          <p:cNvPr id="23" name="TextBox 22">
            <a:extLst>
              <a:ext uri="{FF2B5EF4-FFF2-40B4-BE49-F238E27FC236}">
                <a16:creationId xmlns:a16="http://schemas.microsoft.com/office/drawing/2014/main" id="{7F8E42BD-87BB-40D5-99EE-92DEF215C795}"/>
              </a:ext>
            </a:extLst>
          </p:cNvPr>
          <p:cNvSpPr txBox="1"/>
          <p:nvPr/>
        </p:nvSpPr>
        <p:spPr>
          <a:xfrm>
            <a:off x="1901516" y="2706132"/>
            <a:ext cx="2560320" cy="369332"/>
          </a:xfrm>
          <a:prstGeom prst="rect">
            <a:avLst/>
          </a:prstGeom>
          <a:solidFill>
            <a:schemeClr val="tx2"/>
          </a:solidFill>
        </p:spPr>
        <p:txBody>
          <a:bodyPr wrap="square">
            <a:spAutoFit/>
          </a:bodyPr>
          <a:lstStyle/>
          <a:p>
            <a:pPr algn="ctr"/>
            <a:r>
              <a:rPr lang="en-IN" sz="1800" b="1" dirty="0">
                <a:solidFill>
                  <a:schemeClr val="bg1"/>
                </a:solidFill>
                <a:latin typeface="+mj-lt"/>
              </a:rPr>
              <a:t>Problem Statement?</a:t>
            </a:r>
            <a:endParaRPr lang="en-IN" dirty="0">
              <a:latin typeface="+mj-lt"/>
            </a:endParaRPr>
          </a:p>
        </p:txBody>
      </p:sp>
      <p:grpSp>
        <p:nvGrpSpPr>
          <p:cNvPr id="24" name="Group 4">
            <a:extLst>
              <a:ext uri="{FF2B5EF4-FFF2-40B4-BE49-F238E27FC236}">
                <a16:creationId xmlns:a16="http://schemas.microsoft.com/office/drawing/2014/main" id="{F583449E-7DD9-4A41-997B-B44F4A6F58BF}"/>
              </a:ext>
            </a:extLst>
          </p:cNvPr>
          <p:cNvGrpSpPr>
            <a:grpSpLocks noChangeAspect="1"/>
          </p:cNvGrpSpPr>
          <p:nvPr/>
        </p:nvGrpSpPr>
        <p:grpSpPr bwMode="black">
          <a:xfrm>
            <a:off x="707046" y="2844619"/>
            <a:ext cx="1091274" cy="1049531"/>
            <a:chOff x="867" y="1844"/>
            <a:chExt cx="732" cy="704"/>
          </a:xfrm>
          <a:solidFill>
            <a:schemeClr val="bg2"/>
          </a:solidFill>
        </p:grpSpPr>
        <p:sp>
          <p:nvSpPr>
            <p:cNvPr id="25" name="Freeform 5">
              <a:extLst>
                <a:ext uri="{FF2B5EF4-FFF2-40B4-BE49-F238E27FC236}">
                  <a16:creationId xmlns:a16="http://schemas.microsoft.com/office/drawing/2014/main" id="{28C1D424-D429-4766-8C1C-E24F07C4815D}"/>
                </a:ext>
              </a:extLst>
            </p:cNvPr>
            <p:cNvSpPr>
              <a:spLocks/>
            </p:cNvSpPr>
            <p:nvPr/>
          </p:nvSpPr>
          <p:spPr bwMode="black">
            <a:xfrm>
              <a:off x="1099" y="2156"/>
              <a:ext cx="500" cy="392"/>
            </a:xfrm>
            <a:custGeom>
              <a:avLst/>
              <a:gdLst>
                <a:gd name="T0" fmla="*/ 406 w 500"/>
                <a:gd name="T1" fmla="*/ 392 h 392"/>
                <a:gd name="T2" fmla="*/ 398 w 500"/>
                <a:gd name="T3" fmla="*/ 390 h 392"/>
                <a:gd name="T4" fmla="*/ 330 w 500"/>
                <a:gd name="T5" fmla="*/ 318 h 392"/>
                <a:gd name="T6" fmla="*/ 280 w 500"/>
                <a:gd name="T7" fmla="*/ 330 h 392"/>
                <a:gd name="T8" fmla="*/ 230 w 500"/>
                <a:gd name="T9" fmla="*/ 334 h 392"/>
                <a:gd name="T10" fmla="*/ 196 w 500"/>
                <a:gd name="T11" fmla="*/ 332 h 392"/>
                <a:gd name="T12" fmla="*/ 130 w 500"/>
                <a:gd name="T13" fmla="*/ 318 h 392"/>
                <a:gd name="T14" fmla="*/ 70 w 500"/>
                <a:gd name="T15" fmla="*/ 294 h 392"/>
                <a:gd name="T16" fmla="*/ 22 w 500"/>
                <a:gd name="T17" fmla="*/ 256 h 392"/>
                <a:gd name="T18" fmla="*/ 2 w 500"/>
                <a:gd name="T19" fmla="*/ 234 h 392"/>
                <a:gd name="T20" fmla="*/ 0 w 500"/>
                <a:gd name="T21" fmla="*/ 226 h 392"/>
                <a:gd name="T22" fmla="*/ 2 w 500"/>
                <a:gd name="T23" fmla="*/ 220 h 392"/>
                <a:gd name="T24" fmla="*/ 6 w 500"/>
                <a:gd name="T25" fmla="*/ 220 h 392"/>
                <a:gd name="T26" fmla="*/ 12 w 500"/>
                <a:gd name="T27" fmla="*/ 220 h 392"/>
                <a:gd name="T28" fmla="*/ 16 w 500"/>
                <a:gd name="T29" fmla="*/ 222 h 392"/>
                <a:gd name="T30" fmla="*/ 56 w 500"/>
                <a:gd name="T31" fmla="*/ 262 h 392"/>
                <a:gd name="T32" fmla="*/ 106 w 500"/>
                <a:gd name="T33" fmla="*/ 292 h 392"/>
                <a:gd name="T34" fmla="*/ 166 w 500"/>
                <a:gd name="T35" fmla="*/ 310 h 392"/>
                <a:gd name="T36" fmla="*/ 230 w 500"/>
                <a:gd name="T37" fmla="*/ 316 h 392"/>
                <a:gd name="T38" fmla="*/ 256 w 500"/>
                <a:gd name="T39" fmla="*/ 316 h 392"/>
                <a:gd name="T40" fmla="*/ 306 w 500"/>
                <a:gd name="T41" fmla="*/ 306 h 392"/>
                <a:gd name="T42" fmla="*/ 330 w 500"/>
                <a:gd name="T43" fmla="*/ 300 h 392"/>
                <a:gd name="T44" fmla="*/ 338 w 500"/>
                <a:gd name="T45" fmla="*/ 302 h 392"/>
                <a:gd name="T46" fmla="*/ 392 w 500"/>
                <a:gd name="T47" fmla="*/ 274 h 392"/>
                <a:gd name="T48" fmla="*/ 394 w 500"/>
                <a:gd name="T49" fmla="*/ 270 h 392"/>
                <a:gd name="T50" fmla="*/ 396 w 500"/>
                <a:gd name="T51" fmla="*/ 266 h 392"/>
                <a:gd name="T52" fmla="*/ 432 w 500"/>
                <a:gd name="T53" fmla="*/ 236 h 392"/>
                <a:gd name="T54" fmla="*/ 460 w 500"/>
                <a:gd name="T55" fmla="*/ 200 h 392"/>
                <a:gd name="T56" fmla="*/ 476 w 500"/>
                <a:gd name="T57" fmla="*/ 162 h 392"/>
                <a:gd name="T58" fmla="*/ 482 w 500"/>
                <a:gd name="T59" fmla="*/ 120 h 392"/>
                <a:gd name="T60" fmla="*/ 480 w 500"/>
                <a:gd name="T61" fmla="*/ 106 h 392"/>
                <a:gd name="T62" fmla="*/ 476 w 500"/>
                <a:gd name="T63" fmla="*/ 78 h 392"/>
                <a:gd name="T64" fmla="*/ 466 w 500"/>
                <a:gd name="T65" fmla="*/ 52 h 392"/>
                <a:gd name="T66" fmla="*/ 450 w 500"/>
                <a:gd name="T67" fmla="*/ 26 h 392"/>
                <a:gd name="T68" fmla="*/ 442 w 500"/>
                <a:gd name="T69" fmla="*/ 14 h 392"/>
                <a:gd name="T70" fmla="*/ 440 w 500"/>
                <a:gd name="T71" fmla="*/ 8 h 392"/>
                <a:gd name="T72" fmla="*/ 442 w 500"/>
                <a:gd name="T73" fmla="*/ 2 h 392"/>
                <a:gd name="T74" fmla="*/ 446 w 500"/>
                <a:gd name="T75" fmla="*/ 0 h 392"/>
                <a:gd name="T76" fmla="*/ 452 w 500"/>
                <a:gd name="T77" fmla="*/ 0 h 392"/>
                <a:gd name="T78" fmla="*/ 456 w 500"/>
                <a:gd name="T79" fmla="*/ 2 h 392"/>
                <a:gd name="T80" fmla="*/ 474 w 500"/>
                <a:gd name="T81" fmla="*/ 30 h 392"/>
                <a:gd name="T82" fmla="*/ 488 w 500"/>
                <a:gd name="T83" fmla="*/ 58 h 392"/>
                <a:gd name="T84" fmla="*/ 496 w 500"/>
                <a:gd name="T85" fmla="*/ 88 h 392"/>
                <a:gd name="T86" fmla="*/ 500 w 500"/>
                <a:gd name="T87" fmla="*/ 120 h 392"/>
                <a:gd name="T88" fmla="*/ 498 w 500"/>
                <a:gd name="T89" fmla="*/ 142 h 392"/>
                <a:gd name="T90" fmla="*/ 486 w 500"/>
                <a:gd name="T91" fmla="*/ 186 h 392"/>
                <a:gd name="T92" fmla="*/ 464 w 500"/>
                <a:gd name="T93" fmla="*/ 226 h 392"/>
                <a:gd name="T94" fmla="*/ 430 w 500"/>
                <a:gd name="T95" fmla="*/ 262 h 392"/>
                <a:gd name="T96" fmla="*/ 414 w 500"/>
                <a:gd name="T97" fmla="*/ 382 h 392"/>
                <a:gd name="T98" fmla="*/ 412 w 500"/>
                <a:gd name="T99" fmla="*/ 388 h 392"/>
                <a:gd name="T100" fmla="*/ 408 w 500"/>
                <a:gd name="T101" fmla="*/ 392 h 392"/>
                <a:gd name="T102" fmla="*/ 406 w 500"/>
                <a:gd name="T103"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0" h="392">
                  <a:moveTo>
                    <a:pt x="406" y="392"/>
                  </a:moveTo>
                  <a:lnTo>
                    <a:pt x="406" y="392"/>
                  </a:lnTo>
                  <a:lnTo>
                    <a:pt x="402" y="392"/>
                  </a:lnTo>
                  <a:lnTo>
                    <a:pt x="398" y="390"/>
                  </a:lnTo>
                  <a:lnTo>
                    <a:pt x="330" y="318"/>
                  </a:lnTo>
                  <a:lnTo>
                    <a:pt x="330" y="318"/>
                  </a:lnTo>
                  <a:lnTo>
                    <a:pt x="306" y="326"/>
                  </a:lnTo>
                  <a:lnTo>
                    <a:pt x="280" y="330"/>
                  </a:lnTo>
                  <a:lnTo>
                    <a:pt x="256" y="334"/>
                  </a:lnTo>
                  <a:lnTo>
                    <a:pt x="230" y="334"/>
                  </a:lnTo>
                  <a:lnTo>
                    <a:pt x="230" y="334"/>
                  </a:lnTo>
                  <a:lnTo>
                    <a:pt x="196" y="332"/>
                  </a:lnTo>
                  <a:lnTo>
                    <a:pt x="162" y="328"/>
                  </a:lnTo>
                  <a:lnTo>
                    <a:pt x="130" y="318"/>
                  </a:lnTo>
                  <a:lnTo>
                    <a:pt x="100" y="308"/>
                  </a:lnTo>
                  <a:lnTo>
                    <a:pt x="70" y="294"/>
                  </a:lnTo>
                  <a:lnTo>
                    <a:pt x="44" y="276"/>
                  </a:lnTo>
                  <a:lnTo>
                    <a:pt x="22" y="256"/>
                  </a:lnTo>
                  <a:lnTo>
                    <a:pt x="2" y="234"/>
                  </a:lnTo>
                  <a:lnTo>
                    <a:pt x="2" y="234"/>
                  </a:lnTo>
                  <a:lnTo>
                    <a:pt x="0" y="230"/>
                  </a:lnTo>
                  <a:lnTo>
                    <a:pt x="0" y="226"/>
                  </a:lnTo>
                  <a:lnTo>
                    <a:pt x="0" y="224"/>
                  </a:lnTo>
                  <a:lnTo>
                    <a:pt x="2" y="220"/>
                  </a:lnTo>
                  <a:lnTo>
                    <a:pt x="2" y="220"/>
                  </a:lnTo>
                  <a:lnTo>
                    <a:pt x="6" y="220"/>
                  </a:lnTo>
                  <a:lnTo>
                    <a:pt x="10" y="220"/>
                  </a:lnTo>
                  <a:lnTo>
                    <a:pt x="12" y="220"/>
                  </a:lnTo>
                  <a:lnTo>
                    <a:pt x="16" y="222"/>
                  </a:lnTo>
                  <a:lnTo>
                    <a:pt x="16" y="222"/>
                  </a:lnTo>
                  <a:lnTo>
                    <a:pt x="34" y="244"/>
                  </a:lnTo>
                  <a:lnTo>
                    <a:pt x="56" y="262"/>
                  </a:lnTo>
                  <a:lnTo>
                    <a:pt x="80" y="278"/>
                  </a:lnTo>
                  <a:lnTo>
                    <a:pt x="106" y="292"/>
                  </a:lnTo>
                  <a:lnTo>
                    <a:pt x="136" y="302"/>
                  </a:lnTo>
                  <a:lnTo>
                    <a:pt x="166" y="310"/>
                  </a:lnTo>
                  <a:lnTo>
                    <a:pt x="198" y="314"/>
                  </a:lnTo>
                  <a:lnTo>
                    <a:pt x="230" y="316"/>
                  </a:lnTo>
                  <a:lnTo>
                    <a:pt x="230" y="316"/>
                  </a:lnTo>
                  <a:lnTo>
                    <a:pt x="256" y="316"/>
                  </a:lnTo>
                  <a:lnTo>
                    <a:pt x="280" y="312"/>
                  </a:lnTo>
                  <a:lnTo>
                    <a:pt x="306" y="306"/>
                  </a:lnTo>
                  <a:lnTo>
                    <a:pt x="330" y="300"/>
                  </a:lnTo>
                  <a:lnTo>
                    <a:pt x="330" y="300"/>
                  </a:lnTo>
                  <a:lnTo>
                    <a:pt x="334" y="300"/>
                  </a:lnTo>
                  <a:lnTo>
                    <a:pt x="338" y="302"/>
                  </a:lnTo>
                  <a:lnTo>
                    <a:pt x="396" y="360"/>
                  </a:lnTo>
                  <a:lnTo>
                    <a:pt x="392" y="274"/>
                  </a:lnTo>
                  <a:lnTo>
                    <a:pt x="392" y="274"/>
                  </a:lnTo>
                  <a:lnTo>
                    <a:pt x="394" y="270"/>
                  </a:lnTo>
                  <a:lnTo>
                    <a:pt x="396" y="266"/>
                  </a:lnTo>
                  <a:lnTo>
                    <a:pt x="396" y="266"/>
                  </a:lnTo>
                  <a:lnTo>
                    <a:pt x="416" y="252"/>
                  </a:lnTo>
                  <a:lnTo>
                    <a:pt x="432" y="236"/>
                  </a:lnTo>
                  <a:lnTo>
                    <a:pt x="446" y="218"/>
                  </a:lnTo>
                  <a:lnTo>
                    <a:pt x="460" y="200"/>
                  </a:lnTo>
                  <a:lnTo>
                    <a:pt x="468" y="182"/>
                  </a:lnTo>
                  <a:lnTo>
                    <a:pt x="476" y="162"/>
                  </a:lnTo>
                  <a:lnTo>
                    <a:pt x="480" y="140"/>
                  </a:lnTo>
                  <a:lnTo>
                    <a:pt x="482" y="120"/>
                  </a:lnTo>
                  <a:lnTo>
                    <a:pt x="482" y="120"/>
                  </a:lnTo>
                  <a:lnTo>
                    <a:pt x="480" y="106"/>
                  </a:lnTo>
                  <a:lnTo>
                    <a:pt x="478" y="92"/>
                  </a:lnTo>
                  <a:lnTo>
                    <a:pt x="476" y="78"/>
                  </a:lnTo>
                  <a:lnTo>
                    <a:pt x="472" y="64"/>
                  </a:lnTo>
                  <a:lnTo>
                    <a:pt x="466" y="52"/>
                  </a:lnTo>
                  <a:lnTo>
                    <a:pt x="458" y="38"/>
                  </a:lnTo>
                  <a:lnTo>
                    <a:pt x="450" y="26"/>
                  </a:lnTo>
                  <a:lnTo>
                    <a:pt x="442" y="14"/>
                  </a:lnTo>
                  <a:lnTo>
                    <a:pt x="442" y="14"/>
                  </a:lnTo>
                  <a:lnTo>
                    <a:pt x="440" y="10"/>
                  </a:lnTo>
                  <a:lnTo>
                    <a:pt x="440" y="8"/>
                  </a:lnTo>
                  <a:lnTo>
                    <a:pt x="440" y="4"/>
                  </a:lnTo>
                  <a:lnTo>
                    <a:pt x="442" y="2"/>
                  </a:lnTo>
                  <a:lnTo>
                    <a:pt x="442" y="2"/>
                  </a:lnTo>
                  <a:lnTo>
                    <a:pt x="446" y="0"/>
                  </a:lnTo>
                  <a:lnTo>
                    <a:pt x="448" y="0"/>
                  </a:lnTo>
                  <a:lnTo>
                    <a:pt x="452" y="0"/>
                  </a:lnTo>
                  <a:lnTo>
                    <a:pt x="456" y="2"/>
                  </a:lnTo>
                  <a:lnTo>
                    <a:pt x="456" y="2"/>
                  </a:lnTo>
                  <a:lnTo>
                    <a:pt x="466" y="16"/>
                  </a:lnTo>
                  <a:lnTo>
                    <a:pt x="474" y="30"/>
                  </a:lnTo>
                  <a:lnTo>
                    <a:pt x="482" y="44"/>
                  </a:lnTo>
                  <a:lnTo>
                    <a:pt x="488" y="58"/>
                  </a:lnTo>
                  <a:lnTo>
                    <a:pt x="492" y="74"/>
                  </a:lnTo>
                  <a:lnTo>
                    <a:pt x="496" y="88"/>
                  </a:lnTo>
                  <a:lnTo>
                    <a:pt x="498" y="104"/>
                  </a:lnTo>
                  <a:lnTo>
                    <a:pt x="500" y="120"/>
                  </a:lnTo>
                  <a:lnTo>
                    <a:pt x="500" y="120"/>
                  </a:lnTo>
                  <a:lnTo>
                    <a:pt x="498" y="142"/>
                  </a:lnTo>
                  <a:lnTo>
                    <a:pt x="494" y="164"/>
                  </a:lnTo>
                  <a:lnTo>
                    <a:pt x="486" y="186"/>
                  </a:lnTo>
                  <a:lnTo>
                    <a:pt x="476" y="206"/>
                  </a:lnTo>
                  <a:lnTo>
                    <a:pt x="464" y="226"/>
                  </a:lnTo>
                  <a:lnTo>
                    <a:pt x="448" y="244"/>
                  </a:lnTo>
                  <a:lnTo>
                    <a:pt x="430" y="262"/>
                  </a:lnTo>
                  <a:lnTo>
                    <a:pt x="410" y="278"/>
                  </a:lnTo>
                  <a:lnTo>
                    <a:pt x="414" y="382"/>
                  </a:lnTo>
                  <a:lnTo>
                    <a:pt x="414" y="382"/>
                  </a:lnTo>
                  <a:lnTo>
                    <a:pt x="412" y="388"/>
                  </a:lnTo>
                  <a:lnTo>
                    <a:pt x="408" y="392"/>
                  </a:lnTo>
                  <a:lnTo>
                    <a:pt x="408" y="392"/>
                  </a:lnTo>
                  <a:lnTo>
                    <a:pt x="406" y="392"/>
                  </a:lnTo>
                  <a:lnTo>
                    <a:pt x="406" y="3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latin typeface="+mj-lt"/>
                <a:cs typeface="Arial" panose="020B0604020202020204" pitchFamily="34" charset="0"/>
                <a:sym typeface="EYInterstate Light" panose="02000506000000020004" pitchFamily="2" charset="0"/>
              </a:endParaRPr>
            </a:p>
          </p:txBody>
        </p:sp>
        <p:sp>
          <p:nvSpPr>
            <p:cNvPr id="26" name="Freeform 6">
              <a:extLst>
                <a:ext uri="{FF2B5EF4-FFF2-40B4-BE49-F238E27FC236}">
                  <a16:creationId xmlns:a16="http://schemas.microsoft.com/office/drawing/2014/main" id="{F8A95E67-CA10-454B-AC7C-865FDCFC07BC}"/>
                </a:ext>
              </a:extLst>
            </p:cNvPr>
            <p:cNvSpPr>
              <a:spLocks noEditPoints="1"/>
            </p:cNvSpPr>
            <p:nvPr/>
          </p:nvSpPr>
          <p:spPr bwMode="black">
            <a:xfrm>
              <a:off x="867" y="1844"/>
              <a:ext cx="654" cy="594"/>
            </a:xfrm>
            <a:custGeom>
              <a:avLst/>
              <a:gdLst>
                <a:gd name="T0" fmla="*/ 110 w 654"/>
                <a:gd name="T1" fmla="*/ 594 h 594"/>
                <a:gd name="T2" fmla="*/ 104 w 654"/>
                <a:gd name="T3" fmla="*/ 586 h 594"/>
                <a:gd name="T4" fmla="*/ 84 w 654"/>
                <a:gd name="T5" fmla="*/ 432 h 594"/>
                <a:gd name="T6" fmla="*/ 28 w 654"/>
                <a:gd name="T7" fmla="*/ 364 h 594"/>
                <a:gd name="T8" fmla="*/ 2 w 654"/>
                <a:gd name="T9" fmla="*/ 286 h 594"/>
                <a:gd name="T10" fmla="*/ 2 w 654"/>
                <a:gd name="T11" fmla="*/ 234 h 594"/>
                <a:gd name="T12" fmla="*/ 26 w 654"/>
                <a:gd name="T13" fmla="*/ 158 h 594"/>
                <a:gd name="T14" fmla="*/ 76 w 654"/>
                <a:gd name="T15" fmla="*/ 96 h 594"/>
                <a:gd name="T16" fmla="*/ 146 w 654"/>
                <a:gd name="T17" fmla="*/ 46 h 594"/>
                <a:gd name="T18" fmla="*/ 230 w 654"/>
                <a:gd name="T19" fmla="*/ 12 h 594"/>
                <a:gd name="T20" fmla="*/ 328 w 654"/>
                <a:gd name="T21" fmla="*/ 0 h 594"/>
                <a:gd name="T22" fmla="*/ 394 w 654"/>
                <a:gd name="T23" fmla="*/ 6 h 594"/>
                <a:gd name="T24" fmla="*/ 484 w 654"/>
                <a:gd name="T25" fmla="*/ 32 h 594"/>
                <a:gd name="T26" fmla="*/ 558 w 654"/>
                <a:gd name="T27" fmla="*/ 76 h 594"/>
                <a:gd name="T28" fmla="*/ 616 w 654"/>
                <a:gd name="T29" fmla="*/ 136 h 594"/>
                <a:gd name="T30" fmla="*/ 648 w 654"/>
                <a:gd name="T31" fmla="*/ 208 h 594"/>
                <a:gd name="T32" fmla="*/ 654 w 654"/>
                <a:gd name="T33" fmla="*/ 260 h 594"/>
                <a:gd name="T34" fmla="*/ 640 w 654"/>
                <a:gd name="T35" fmla="*/ 336 h 594"/>
                <a:gd name="T36" fmla="*/ 598 w 654"/>
                <a:gd name="T37" fmla="*/ 404 h 594"/>
                <a:gd name="T38" fmla="*/ 536 w 654"/>
                <a:gd name="T39" fmla="*/ 458 h 594"/>
                <a:gd name="T40" fmla="*/ 454 w 654"/>
                <a:gd name="T41" fmla="*/ 498 h 594"/>
                <a:gd name="T42" fmla="*/ 362 w 654"/>
                <a:gd name="T43" fmla="*/ 516 h 594"/>
                <a:gd name="T44" fmla="*/ 298 w 654"/>
                <a:gd name="T45" fmla="*/ 516 h 594"/>
                <a:gd name="T46" fmla="*/ 208 w 654"/>
                <a:gd name="T47" fmla="*/ 500 h 594"/>
                <a:gd name="T48" fmla="*/ 116 w 654"/>
                <a:gd name="T49" fmla="*/ 594 h 594"/>
                <a:gd name="T50" fmla="*/ 328 w 654"/>
                <a:gd name="T51" fmla="*/ 18 h 594"/>
                <a:gd name="T52" fmla="*/ 266 w 654"/>
                <a:gd name="T53" fmla="*/ 24 h 594"/>
                <a:gd name="T54" fmla="*/ 180 w 654"/>
                <a:gd name="T55" fmla="*/ 48 h 594"/>
                <a:gd name="T56" fmla="*/ 110 w 654"/>
                <a:gd name="T57" fmla="*/ 90 h 594"/>
                <a:gd name="T58" fmla="*/ 56 w 654"/>
                <a:gd name="T59" fmla="*/ 144 h 594"/>
                <a:gd name="T60" fmla="*/ 24 w 654"/>
                <a:gd name="T61" fmla="*/ 212 h 594"/>
                <a:gd name="T62" fmla="*/ 18 w 654"/>
                <a:gd name="T63" fmla="*/ 260 h 594"/>
                <a:gd name="T64" fmla="*/ 34 w 654"/>
                <a:gd name="T65" fmla="*/ 334 h 594"/>
                <a:gd name="T66" fmla="*/ 78 w 654"/>
                <a:gd name="T67" fmla="*/ 402 h 594"/>
                <a:gd name="T68" fmla="*/ 122 w 654"/>
                <a:gd name="T69" fmla="*/ 438 h 594"/>
                <a:gd name="T70" fmla="*/ 122 w 654"/>
                <a:gd name="T71" fmla="*/ 562 h 594"/>
                <a:gd name="T72" fmla="*/ 204 w 654"/>
                <a:gd name="T73" fmla="*/ 482 h 594"/>
                <a:gd name="T74" fmla="*/ 238 w 654"/>
                <a:gd name="T75" fmla="*/ 490 h 594"/>
                <a:gd name="T76" fmla="*/ 328 w 654"/>
                <a:gd name="T77" fmla="*/ 500 h 594"/>
                <a:gd name="T78" fmla="*/ 390 w 654"/>
                <a:gd name="T79" fmla="*/ 496 h 594"/>
                <a:gd name="T80" fmla="*/ 474 w 654"/>
                <a:gd name="T81" fmla="*/ 470 h 594"/>
                <a:gd name="T82" fmla="*/ 546 w 654"/>
                <a:gd name="T83" fmla="*/ 430 h 594"/>
                <a:gd name="T84" fmla="*/ 600 w 654"/>
                <a:gd name="T85" fmla="*/ 374 h 594"/>
                <a:gd name="T86" fmla="*/ 630 w 654"/>
                <a:gd name="T87" fmla="*/ 308 h 594"/>
                <a:gd name="T88" fmla="*/ 636 w 654"/>
                <a:gd name="T89" fmla="*/ 260 h 594"/>
                <a:gd name="T90" fmla="*/ 622 w 654"/>
                <a:gd name="T91" fmla="*/ 188 h 594"/>
                <a:gd name="T92" fmla="*/ 584 w 654"/>
                <a:gd name="T93" fmla="*/ 126 h 594"/>
                <a:gd name="T94" fmla="*/ 524 w 654"/>
                <a:gd name="T95" fmla="*/ 74 h 594"/>
                <a:gd name="T96" fmla="*/ 448 w 654"/>
                <a:gd name="T97" fmla="*/ 38 h 594"/>
                <a:gd name="T98" fmla="*/ 360 w 654"/>
                <a:gd name="T99" fmla="*/ 2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4" h="594">
                  <a:moveTo>
                    <a:pt x="112" y="594"/>
                  </a:moveTo>
                  <a:lnTo>
                    <a:pt x="112" y="594"/>
                  </a:lnTo>
                  <a:lnTo>
                    <a:pt x="110" y="594"/>
                  </a:lnTo>
                  <a:lnTo>
                    <a:pt x="110" y="594"/>
                  </a:lnTo>
                  <a:lnTo>
                    <a:pt x="106" y="590"/>
                  </a:lnTo>
                  <a:lnTo>
                    <a:pt x="104" y="586"/>
                  </a:lnTo>
                  <a:lnTo>
                    <a:pt x="108" y="450"/>
                  </a:lnTo>
                  <a:lnTo>
                    <a:pt x="108" y="450"/>
                  </a:lnTo>
                  <a:lnTo>
                    <a:pt x="84" y="432"/>
                  </a:lnTo>
                  <a:lnTo>
                    <a:pt x="62" y="410"/>
                  </a:lnTo>
                  <a:lnTo>
                    <a:pt x="44" y="388"/>
                  </a:lnTo>
                  <a:lnTo>
                    <a:pt x="28" y="364"/>
                  </a:lnTo>
                  <a:lnTo>
                    <a:pt x="16" y="340"/>
                  </a:lnTo>
                  <a:lnTo>
                    <a:pt x="8" y="314"/>
                  </a:lnTo>
                  <a:lnTo>
                    <a:pt x="2" y="286"/>
                  </a:lnTo>
                  <a:lnTo>
                    <a:pt x="0" y="260"/>
                  </a:lnTo>
                  <a:lnTo>
                    <a:pt x="0" y="260"/>
                  </a:lnTo>
                  <a:lnTo>
                    <a:pt x="2" y="234"/>
                  </a:lnTo>
                  <a:lnTo>
                    <a:pt x="8" y="208"/>
                  </a:lnTo>
                  <a:lnTo>
                    <a:pt x="16" y="182"/>
                  </a:lnTo>
                  <a:lnTo>
                    <a:pt x="26" y="158"/>
                  </a:lnTo>
                  <a:lnTo>
                    <a:pt x="40" y="136"/>
                  </a:lnTo>
                  <a:lnTo>
                    <a:pt x="56" y="114"/>
                  </a:lnTo>
                  <a:lnTo>
                    <a:pt x="76" y="96"/>
                  </a:lnTo>
                  <a:lnTo>
                    <a:pt x="96" y="76"/>
                  </a:lnTo>
                  <a:lnTo>
                    <a:pt x="120" y="60"/>
                  </a:lnTo>
                  <a:lnTo>
                    <a:pt x="146" y="46"/>
                  </a:lnTo>
                  <a:lnTo>
                    <a:pt x="172" y="32"/>
                  </a:lnTo>
                  <a:lnTo>
                    <a:pt x="200" y="22"/>
                  </a:lnTo>
                  <a:lnTo>
                    <a:pt x="230" y="12"/>
                  </a:lnTo>
                  <a:lnTo>
                    <a:pt x="262" y="6"/>
                  </a:lnTo>
                  <a:lnTo>
                    <a:pt x="294" y="2"/>
                  </a:lnTo>
                  <a:lnTo>
                    <a:pt x="328" y="0"/>
                  </a:lnTo>
                  <a:lnTo>
                    <a:pt x="328" y="0"/>
                  </a:lnTo>
                  <a:lnTo>
                    <a:pt x="362" y="2"/>
                  </a:lnTo>
                  <a:lnTo>
                    <a:pt x="394" y="6"/>
                  </a:lnTo>
                  <a:lnTo>
                    <a:pt x="424" y="12"/>
                  </a:lnTo>
                  <a:lnTo>
                    <a:pt x="454" y="22"/>
                  </a:lnTo>
                  <a:lnTo>
                    <a:pt x="484" y="32"/>
                  </a:lnTo>
                  <a:lnTo>
                    <a:pt x="510" y="46"/>
                  </a:lnTo>
                  <a:lnTo>
                    <a:pt x="536" y="60"/>
                  </a:lnTo>
                  <a:lnTo>
                    <a:pt x="558" y="76"/>
                  </a:lnTo>
                  <a:lnTo>
                    <a:pt x="580" y="96"/>
                  </a:lnTo>
                  <a:lnTo>
                    <a:pt x="598" y="114"/>
                  </a:lnTo>
                  <a:lnTo>
                    <a:pt x="616" y="136"/>
                  </a:lnTo>
                  <a:lnTo>
                    <a:pt x="628" y="158"/>
                  </a:lnTo>
                  <a:lnTo>
                    <a:pt x="640" y="182"/>
                  </a:lnTo>
                  <a:lnTo>
                    <a:pt x="648" y="208"/>
                  </a:lnTo>
                  <a:lnTo>
                    <a:pt x="654" y="234"/>
                  </a:lnTo>
                  <a:lnTo>
                    <a:pt x="654" y="260"/>
                  </a:lnTo>
                  <a:lnTo>
                    <a:pt x="654" y="260"/>
                  </a:lnTo>
                  <a:lnTo>
                    <a:pt x="654" y="286"/>
                  </a:lnTo>
                  <a:lnTo>
                    <a:pt x="648" y="312"/>
                  </a:lnTo>
                  <a:lnTo>
                    <a:pt x="640" y="336"/>
                  </a:lnTo>
                  <a:lnTo>
                    <a:pt x="628" y="360"/>
                  </a:lnTo>
                  <a:lnTo>
                    <a:pt x="616" y="382"/>
                  </a:lnTo>
                  <a:lnTo>
                    <a:pt x="598" y="404"/>
                  </a:lnTo>
                  <a:lnTo>
                    <a:pt x="580" y="424"/>
                  </a:lnTo>
                  <a:lnTo>
                    <a:pt x="558" y="442"/>
                  </a:lnTo>
                  <a:lnTo>
                    <a:pt x="536" y="458"/>
                  </a:lnTo>
                  <a:lnTo>
                    <a:pt x="510" y="474"/>
                  </a:lnTo>
                  <a:lnTo>
                    <a:pt x="484" y="486"/>
                  </a:lnTo>
                  <a:lnTo>
                    <a:pt x="454" y="498"/>
                  </a:lnTo>
                  <a:lnTo>
                    <a:pt x="424" y="506"/>
                  </a:lnTo>
                  <a:lnTo>
                    <a:pt x="394" y="512"/>
                  </a:lnTo>
                  <a:lnTo>
                    <a:pt x="362" y="516"/>
                  </a:lnTo>
                  <a:lnTo>
                    <a:pt x="328" y="518"/>
                  </a:lnTo>
                  <a:lnTo>
                    <a:pt x="328" y="518"/>
                  </a:lnTo>
                  <a:lnTo>
                    <a:pt x="298" y="516"/>
                  </a:lnTo>
                  <a:lnTo>
                    <a:pt x="268" y="514"/>
                  </a:lnTo>
                  <a:lnTo>
                    <a:pt x="238" y="508"/>
                  </a:lnTo>
                  <a:lnTo>
                    <a:pt x="208" y="500"/>
                  </a:lnTo>
                  <a:lnTo>
                    <a:pt x="120" y="592"/>
                  </a:lnTo>
                  <a:lnTo>
                    <a:pt x="120" y="592"/>
                  </a:lnTo>
                  <a:lnTo>
                    <a:pt x="116" y="594"/>
                  </a:lnTo>
                  <a:lnTo>
                    <a:pt x="112" y="594"/>
                  </a:lnTo>
                  <a:lnTo>
                    <a:pt x="112" y="594"/>
                  </a:lnTo>
                  <a:close/>
                  <a:moveTo>
                    <a:pt x="328" y="18"/>
                  </a:moveTo>
                  <a:lnTo>
                    <a:pt x="328" y="18"/>
                  </a:lnTo>
                  <a:lnTo>
                    <a:pt x="296" y="20"/>
                  </a:lnTo>
                  <a:lnTo>
                    <a:pt x="266" y="24"/>
                  </a:lnTo>
                  <a:lnTo>
                    <a:pt x="236" y="30"/>
                  </a:lnTo>
                  <a:lnTo>
                    <a:pt x="208" y="38"/>
                  </a:lnTo>
                  <a:lnTo>
                    <a:pt x="180" y="48"/>
                  </a:lnTo>
                  <a:lnTo>
                    <a:pt x="156" y="60"/>
                  </a:lnTo>
                  <a:lnTo>
                    <a:pt x="132" y="74"/>
                  </a:lnTo>
                  <a:lnTo>
                    <a:pt x="110" y="90"/>
                  </a:lnTo>
                  <a:lnTo>
                    <a:pt x="90" y="106"/>
                  </a:lnTo>
                  <a:lnTo>
                    <a:pt x="72" y="126"/>
                  </a:lnTo>
                  <a:lnTo>
                    <a:pt x="56" y="144"/>
                  </a:lnTo>
                  <a:lnTo>
                    <a:pt x="44" y="166"/>
                  </a:lnTo>
                  <a:lnTo>
                    <a:pt x="32" y="188"/>
                  </a:lnTo>
                  <a:lnTo>
                    <a:pt x="24" y="212"/>
                  </a:lnTo>
                  <a:lnTo>
                    <a:pt x="20" y="234"/>
                  </a:lnTo>
                  <a:lnTo>
                    <a:pt x="18" y="260"/>
                  </a:lnTo>
                  <a:lnTo>
                    <a:pt x="18" y="260"/>
                  </a:lnTo>
                  <a:lnTo>
                    <a:pt x="20" y="284"/>
                  </a:lnTo>
                  <a:lnTo>
                    <a:pt x="26" y="310"/>
                  </a:lnTo>
                  <a:lnTo>
                    <a:pt x="34" y="334"/>
                  </a:lnTo>
                  <a:lnTo>
                    <a:pt x="46" y="358"/>
                  </a:lnTo>
                  <a:lnTo>
                    <a:pt x="60" y="380"/>
                  </a:lnTo>
                  <a:lnTo>
                    <a:pt x="78" y="402"/>
                  </a:lnTo>
                  <a:lnTo>
                    <a:pt x="100" y="420"/>
                  </a:lnTo>
                  <a:lnTo>
                    <a:pt x="122" y="438"/>
                  </a:lnTo>
                  <a:lnTo>
                    <a:pt x="122" y="438"/>
                  </a:lnTo>
                  <a:lnTo>
                    <a:pt x="126" y="442"/>
                  </a:lnTo>
                  <a:lnTo>
                    <a:pt x="126" y="446"/>
                  </a:lnTo>
                  <a:lnTo>
                    <a:pt x="122" y="562"/>
                  </a:lnTo>
                  <a:lnTo>
                    <a:pt x="200" y="484"/>
                  </a:lnTo>
                  <a:lnTo>
                    <a:pt x="200" y="484"/>
                  </a:lnTo>
                  <a:lnTo>
                    <a:pt x="204" y="482"/>
                  </a:lnTo>
                  <a:lnTo>
                    <a:pt x="208" y="482"/>
                  </a:lnTo>
                  <a:lnTo>
                    <a:pt x="208" y="482"/>
                  </a:lnTo>
                  <a:lnTo>
                    <a:pt x="238" y="490"/>
                  </a:lnTo>
                  <a:lnTo>
                    <a:pt x="268" y="496"/>
                  </a:lnTo>
                  <a:lnTo>
                    <a:pt x="298" y="498"/>
                  </a:lnTo>
                  <a:lnTo>
                    <a:pt x="328" y="500"/>
                  </a:lnTo>
                  <a:lnTo>
                    <a:pt x="328" y="500"/>
                  </a:lnTo>
                  <a:lnTo>
                    <a:pt x="360" y="498"/>
                  </a:lnTo>
                  <a:lnTo>
                    <a:pt x="390" y="496"/>
                  </a:lnTo>
                  <a:lnTo>
                    <a:pt x="420" y="490"/>
                  </a:lnTo>
                  <a:lnTo>
                    <a:pt x="448" y="482"/>
                  </a:lnTo>
                  <a:lnTo>
                    <a:pt x="474" y="470"/>
                  </a:lnTo>
                  <a:lnTo>
                    <a:pt x="500" y="458"/>
                  </a:lnTo>
                  <a:lnTo>
                    <a:pt x="524" y="446"/>
                  </a:lnTo>
                  <a:lnTo>
                    <a:pt x="546" y="430"/>
                  </a:lnTo>
                  <a:lnTo>
                    <a:pt x="566" y="412"/>
                  </a:lnTo>
                  <a:lnTo>
                    <a:pt x="584" y="394"/>
                  </a:lnTo>
                  <a:lnTo>
                    <a:pt x="600" y="374"/>
                  </a:lnTo>
                  <a:lnTo>
                    <a:pt x="612" y="354"/>
                  </a:lnTo>
                  <a:lnTo>
                    <a:pt x="622" y="330"/>
                  </a:lnTo>
                  <a:lnTo>
                    <a:pt x="630" y="308"/>
                  </a:lnTo>
                  <a:lnTo>
                    <a:pt x="636" y="284"/>
                  </a:lnTo>
                  <a:lnTo>
                    <a:pt x="636" y="260"/>
                  </a:lnTo>
                  <a:lnTo>
                    <a:pt x="636" y="260"/>
                  </a:lnTo>
                  <a:lnTo>
                    <a:pt x="636" y="234"/>
                  </a:lnTo>
                  <a:lnTo>
                    <a:pt x="630" y="212"/>
                  </a:lnTo>
                  <a:lnTo>
                    <a:pt x="622" y="188"/>
                  </a:lnTo>
                  <a:lnTo>
                    <a:pt x="612" y="166"/>
                  </a:lnTo>
                  <a:lnTo>
                    <a:pt x="600" y="144"/>
                  </a:lnTo>
                  <a:lnTo>
                    <a:pt x="584" y="126"/>
                  </a:lnTo>
                  <a:lnTo>
                    <a:pt x="566" y="106"/>
                  </a:lnTo>
                  <a:lnTo>
                    <a:pt x="546" y="90"/>
                  </a:lnTo>
                  <a:lnTo>
                    <a:pt x="524" y="74"/>
                  </a:lnTo>
                  <a:lnTo>
                    <a:pt x="500" y="60"/>
                  </a:lnTo>
                  <a:lnTo>
                    <a:pt x="474" y="48"/>
                  </a:lnTo>
                  <a:lnTo>
                    <a:pt x="448" y="38"/>
                  </a:lnTo>
                  <a:lnTo>
                    <a:pt x="420" y="30"/>
                  </a:lnTo>
                  <a:lnTo>
                    <a:pt x="390" y="24"/>
                  </a:lnTo>
                  <a:lnTo>
                    <a:pt x="360" y="20"/>
                  </a:lnTo>
                  <a:lnTo>
                    <a:pt x="328" y="18"/>
                  </a:lnTo>
                  <a:lnTo>
                    <a:pt x="32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latin typeface="+mj-lt"/>
                <a:cs typeface="Arial" panose="020B0604020202020204" pitchFamily="34" charset="0"/>
                <a:sym typeface="EYInterstate Light" panose="02000506000000020004" pitchFamily="2" charset="0"/>
              </a:endParaRPr>
            </a:p>
          </p:txBody>
        </p:sp>
        <p:sp>
          <p:nvSpPr>
            <p:cNvPr id="27" name="Freeform 7">
              <a:extLst>
                <a:ext uri="{FF2B5EF4-FFF2-40B4-BE49-F238E27FC236}">
                  <a16:creationId xmlns:a16="http://schemas.microsoft.com/office/drawing/2014/main" id="{6D588951-FC55-4AF1-AB05-3DAF507C23DB}"/>
                </a:ext>
              </a:extLst>
            </p:cNvPr>
            <p:cNvSpPr>
              <a:spLocks noEditPoints="1"/>
            </p:cNvSpPr>
            <p:nvPr/>
          </p:nvSpPr>
          <p:spPr bwMode="black">
            <a:xfrm>
              <a:off x="1067" y="2070"/>
              <a:ext cx="72" cy="74"/>
            </a:xfrm>
            <a:custGeom>
              <a:avLst/>
              <a:gdLst>
                <a:gd name="T0" fmla="*/ 36 w 72"/>
                <a:gd name="T1" fmla="*/ 74 h 74"/>
                <a:gd name="T2" fmla="*/ 36 w 72"/>
                <a:gd name="T3" fmla="*/ 74 h 74"/>
                <a:gd name="T4" fmla="*/ 28 w 72"/>
                <a:gd name="T5" fmla="*/ 72 h 74"/>
                <a:gd name="T6" fmla="*/ 22 w 72"/>
                <a:gd name="T7" fmla="*/ 70 h 74"/>
                <a:gd name="T8" fmla="*/ 16 w 72"/>
                <a:gd name="T9" fmla="*/ 66 h 74"/>
                <a:gd name="T10" fmla="*/ 10 w 72"/>
                <a:gd name="T11" fmla="*/ 62 h 74"/>
                <a:gd name="T12" fmla="*/ 6 w 72"/>
                <a:gd name="T13" fmla="*/ 58 h 74"/>
                <a:gd name="T14" fmla="*/ 2 w 72"/>
                <a:gd name="T15" fmla="*/ 50 h 74"/>
                <a:gd name="T16" fmla="*/ 0 w 72"/>
                <a:gd name="T17" fmla="*/ 44 h 74"/>
                <a:gd name="T18" fmla="*/ 0 w 72"/>
                <a:gd name="T19" fmla="*/ 36 h 74"/>
                <a:gd name="T20" fmla="*/ 0 w 72"/>
                <a:gd name="T21" fmla="*/ 36 h 74"/>
                <a:gd name="T22" fmla="*/ 0 w 72"/>
                <a:gd name="T23" fmla="*/ 30 h 74"/>
                <a:gd name="T24" fmla="*/ 2 w 72"/>
                <a:gd name="T25" fmla="*/ 22 h 74"/>
                <a:gd name="T26" fmla="*/ 6 w 72"/>
                <a:gd name="T27" fmla="*/ 16 h 74"/>
                <a:gd name="T28" fmla="*/ 10 w 72"/>
                <a:gd name="T29" fmla="*/ 10 h 74"/>
                <a:gd name="T30" fmla="*/ 16 w 72"/>
                <a:gd name="T31" fmla="*/ 6 h 74"/>
                <a:gd name="T32" fmla="*/ 22 w 72"/>
                <a:gd name="T33" fmla="*/ 2 h 74"/>
                <a:gd name="T34" fmla="*/ 28 w 72"/>
                <a:gd name="T35" fmla="*/ 0 h 74"/>
                <a:gd name="T36" fmla="*/ 36 w 72"/>
                <a:gd name="T37" fmla="*/ 0 h 74"/>
                <a:gd name="T38" fmla="*/ 36 w 72"/>
                <a:gd name="T39" fmla="*/ 0 h 74"/>
                <a:gd name="T40" fmla="*/ 44 w 72"/>
                <a:gd name="T41" fmla="*/ 0 h 74"/>
                <a:gd name="T42" fmla="*/ 50 w 72"/>
                <a:gd name="T43" fmla="*/ 2 h 74"/>
                <a:gd name="T44" fmla="*/ 56 w 72"/>
                <a:gd name="T45" fmla="*/ 6 h 74"/>
                <a:gd name="T46" fmla="*/ 62 w 72"/>
                <a:gd name="T47" fmla="*/ 10 h 74"/>
                <a:gd name="T48" fmla="*/ 66 w 72"/>
                <a:gd name="T49" fmla="*/ 16 h 74"/>
                <a:gd name="T50" fmla="*/ 70 w 72"/>
                <a:gd name="T51" fmla="*/ 22 h 74"/>
                <a:gd name="T52" fmla="*/ 72 w 72"/>
                <a:gd name="T53" fmla="*/ 30 h 74"/>
                <a:gd name="T54" fmla="*/ 72 w 72"/>
                <a:gd name="T55" fmla="*/ 36 h 74"/>
                <a:gd name="T56" fmla="*/ 72 w 72"/>
                <a:gd name="T57" fmla="*/ 36 h 74"/>
                <a:gd name="T58" fmla="*/ 72 w 72"/>
                <a:gd name="T59" fmla="*/ 44 h 74"/>
                <a:gd name="T60" fmla="*/ 70 w 72"/>
                <a:gd name="T61" fmla="*/ 50 h 74"/>
                <a:gd name="T62" fmla="*/ 66 w 72"/>
                <a:gd name="T63" fmla="*/ 58 h 74"/>
                <a:gd name="T64" fmla="*/ 62 w 72"/>
                <a:gd name="T65" fmla="*/ 62 h 74"/>
                <a:gd name="T66" fmla="*/ 56 w 72"/>
                <a:gd name="T67" fmla="*/ 66 h 74"/>
                <a:gd name="T68" fmla="*/ 50 w 72"/>
                <a:gd name="T69" fmla="*/ 70 h 74"/>
                <a:gd name="T70" fmla="*/ 44 w 72"/>
                <a:gd name="T71" fmla="*/ 72 h 74"/>
                <a:gd name="T72" fmla="*/ 36 w 72"/>
                <a:gd name="T73" fmla="*/ 74 h 74"/>
                <a:gd name="T74" fmla="*/ 36 w 72"/>
                <a:gd name="T75" fmla="*/ 74 h 74"/>
                <a:gd name="T76" fmla="*/ 36 w 72"/>
                <a:gd name="T77" fmla="*/ 18 h 74"/>
                <a:gd name="T78" fmla="*/ 36 w 72"/>
                <a:gd name="T79" fmla="*/ 18 h 74"/>
                <a:gd name="T80" fmla="*/ 28 w 72"/>
                <a:gd name="T81" fmla="*/ 20 h 74"/>
                <a:gd name="T82" fmla="*/ 22 w 72"/>
                <a:gd name="T83" fmla="*/ 24 h 74"/>
                <a:gd name="T84" fmla="*/ 18 w 72"/>
                <a:gd name="T85" fmla="*/ 30 h 74"/>
                <a:gd name="T86" fmla="*/ 18 w 72"/>
                <a:gd name="T87" fmla="*/ 36 h 74"/>
                <a:gd name="T88" fmla="*/ 18 w 72"/>
                <a:gd name="T89" fmla="*/ 36 h 74"/>
                <a:gd name="T90" fmla="*/ 18 w 72"/>
                <a:gd name="T91" fmla="*/ 44 h 74"/>
                <a:gd name="T92" fmla="*/ 22 w 72"/>
                <a:gd name="T93" fmla="*/ 50 h 74"/>
                <a:gd name="T94" fmla="*/ 28 w 72"/>
                <a:gd name="T95" fmla="*/ 54 h 74"/>
                <a:gd name="T96" fmla="*/ 36 w 72"/>
                <a:gd name="T97" fmla="*/ 56 h 74"/>
                <a:gd name="T98" fmla="*/ 36 w 72"/>
                <a:gd name="T99" fmla="*/ 56 h 74"/>
                <a:gd name="T100" fmla="*/ 44 w 72"/>
                <a:gd name="T101" fmla="*/ 54 h 74"/>
                <a:gd name="T102" fmla="*/ 50 w 72"/>
                <a:gd name="T103" fmla="*/ 50 h 74"/>
                <a:gd name="T104" fmla="*/ 54 w 72"/>
                <a:gd name="T105" fmla="*/ 44 h 74"/>
                <a:gd name="T106" fmla="*/ 54 w 72"/>
                <a:gd name="T107" fmla="*/ 36 h 74"/>
                <a:gd name="T108" fmla="*/ 54 w 72"/>
                <a:gd name="T109" fmla="*/ 36 h 74"/>
                <a:gd name="T110" fmla="*/ 54 w 72"/>
                <a:gd name="T111" fmla="*/ 30 h 74"/>
                <a:gd name="T112" fmla="*/ 50 w 72"/>
                <a:gd name="T113" fmla="*/ 24 h 74"/>
                <a:gd name="T114" fmla="*/ 44 w 72"/>
                <a:gd name="T115" fmla="*/ 20 h 74"/>
                <a:gd name="T116" fmla="*/ 36 w 72"/>
                <a:gd name="T117" fmla="*/ 18 h 74"/>
                <a:gd name="T118" fmla="*/ 36 w 72"/>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 h="74">
                  <a:moveTo>
                    <a:pt x="36" y="74"/>
                  </a:moveTo>
                  <a:lnTo>
                    <a:pt x="36" y="74"/>
                  </a:lnTo>
                  <a:lnTo>
                    <a:pt x="28" y="72"/>
                  </a:lnTo>
                  <a:lnTo>
                    <a:pt x="22" y="70"/>
                  </a:lnTo>
                  <a:lnTo>
                    <a:pt x="16" y="66"/>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36" y="0"/>
                  </a:lnTo>
                  <a:lnTo>
                    <a:pt x="44" y="0"/>
                  </a:lnTo>
                  <a:lnTo>
                    <a:pt x="50" y="2"/>
                  </a:lnTo>
                  <a:lnTo>
                    <a:pt x="56" y="6"/>
                  </a:lnTo>
                  <a:lnTo>
                    <a:pt x="62" y="10"/>
                  </a:lnTo>
                  <a:lnTo>
                    <a:pt x="66" y="16"/>
                  </a:lnTo>
                  <a:lnTo>
                    <a:pt x="70" y="22"/>
                  </a:lnTo>
                  <a:lnTo>
                    <a:pt x="72" y="30"/>
                  </a:lnTo>
                  <a:lnTo>
                    <a:pt x="72" y="36"/>
                  </a:lnTo>
                  <a:lnTo>
                    <a:pt x="72" y="36"/>
                  </a:lnTo>
                  <a:lnTo>
                    <a:pt x="72" y="44"/>
                  </a:lnTo>
                  <a:lnTo>
                    <a:pt x="70" y="50"/>
                  </a:lnTo>
                  <a:lnTo>
                    <a:pt x="66" y="58"/>
                  </a:lnTo>
                  <a:lnTo>
                    <a:pt x="62" y="62"/>
                  </a:lnTo>
                  <a:lnTo>
                    <a:pt x="56" y="66"/>
                  </a:lnTo>
                  <a:lnTo>
                    <a:pt x="50" y="70"/>
                  </a:lnTo>
                  <a:lnTo>
                    <a:pt x="44" y="72"/>
                  </a:lnTo>
                  <a:lnTo>
                    <a:pt x="36" y="74"/>
                  </a:lnTo>
                  <a:lnTo>
                    <a:pt x="36" y="74"/>
                  </a:lnTo>
                  <a:close/>
                  <a:moveTo>
                    <a:pt x="36" y="18"/>
                  </a:moveTo>
                  <a:lnTo>
                    <a:pt x="36" y="18"/>
                  </a:lnTo>
                  <a:lnTo>
                    <a:pt x="28" y="20"/>
                  </a:lnTo>
                  <a:lnTo>
                    <a:pt x="22" y="24"/>
                  </a:lnTo>
                  <a:lnTo>
                    <a:pt x="18" y="30"/>
                  </a:lnTo>
                  <a:lnTo>
                    <a:pt x="18" y="36"/>
                  </a:lnTo>
                  <a:lnTo>
                    <a:pt x="18" y="36"/>
                  </a:lnTo>
                  <a:lnTo>
                    <a:pt x="18" y="44"/>
                  </a:lnTo>
                  <a:lnTo>
                    <a:pt x="22" y="50"/>
                  </a:lnTo>
                  <a:lnTo>
                    <a:pt x="28" y="54"/>
                  </a:lnTo>
                  <a:lnTo>
                    <a:pt x="36" y="56"/>
                  </a:lnTo>
                  <a:lnTo>
                    <a:pt x="36" y="56"/>
                  </a:lnTo>
                  <a:lnTo>
                    <a:pt x="44" y="54"/>
                  </a:lnTo>
                  <a:lnTo>
                    <a:pt x="50" y="50"/>
                  </a:lnTo>
                  <a:lnTo>
                    <a:pt x="54" y="44"/>
                  </a:lnTo>
                  <a:lnTo>
                    <a:pt x="54" y="36"/>
                  </a:lnTo>
                  <a:lnTo>
                    <a:pt x="54" y="36"/>
                  </a:lnTo>
                  <a:lnTo>
                    <a:pt x="54" y="30"/>
                  </a:lnTo>
                  <a:lnTo>
                    <a:pt x="50" y="24"/>
                  </a:lnTo>
                  <a:lnTo>
                    <a:pt x="44" y="20"/>
                  </a:lnTo>
                  <a:lnTo>
                    <a:pt x="36" y="18"/>
                  </a:lnTo>
                  <a:lnTo>
                    <a:pt x="36"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latin typeface="+mj-lt"/>
                <a:cs typeface="Arial" panose="020B0604020202020204" pitchFamily="34" charset="0"/>
                <a:sym typeface="EYInterstate Light" panose="02000506000000020004" pitchFamily="2" charset="0"/>
              </a:endParaRPr>
            </a:p>
          </p:txBody>
        </p:sp>
        <p:sp>
          <p:nvSpPr>
            <p:cNvPr id="28" name="Freeform 8">
              <a:extLst>
                <a:ext uri="{FF2B5EF4-FFF2-40B4-BE49-F238E27FC236}">
                  <a16:creationId xmlns:a16="http://schemas.microsoft.com/office/drawing/2014/main" id="{A83D78C7-6C21-46DC-BB29-2FD06A3DCC56}"/>
                </a:ext>
              </a:extLst>
            </p:cNvPr>
            <p:cNvSpPr>
              <a:spLocks noEditPoints="1"/>
            </p:cNvSpPr>
            <p:nvPr/>
          </p:nvSpPr>
          <p:spPr bwMode="black">
            <a:xfrm>
              <a:off x="1157" y="2070"/>
              <a:ext cx="74" cy="74"/>
            </a:xfrm>
            <a:custGeom>
              <a:avLst/>
              <a:gdLst>
                <a:gd name="T0" fmla="*/ 38 w 74"/>
                <a:gd name="T1" fmla="*/ 74 h 74"/>
                <a:gd name="T2" fmla="*/ 38 w 74"/>
                <a:gd name="T3" fmla="*/ 74 h 74"/>
                <a:gd name="T4" fmla="*/ 30 w 74"/>
                <a:gd name="T5" fmla="*/ 72 h 74"/>
                <a:gd name="T6" fmla="*/ 24 w 74"/>
                <a:gd name="T7" fmla="*/ 70 h 74"/>
                <a:gd name="T8" fmla="*/ 18 w 74"/>
                <a:gd name="T9" fmla="*/ 66 h 74"/>
                <a:gd name="T10" fmla="*/ 12 w 74"/>
                <a:gd name="T11" fmla="*/ 62 h 74"/>
                <a:gd name="T12" fmla="*/ 8 w 74"/>
                <a:gd name="T13" fmla="*/ 58 h 74"/>
                <a:gd name="T14" fmla="*/ 4 w 74"/>
                <a:gd name="T15" fmla="*/ 50 h 74"/>
                <a:gd name="T16" fmla="*/ 2 w 74"/>
                <a:gd name="T17" fmla="*/ 44 h 74"/>
                <a:gd name="T18" fmla="*/ 0 w 74"/>
                <a:gd name="T19" fmla="*/ 36 h 74"/>
                <a:gd name="T20" fmla="*/ 0 w 74"/>
                <a:gd name="T21" fmla="*/ 36 h 74"/>
                <a:gd name="T22" fmla="*/ 2 w 74"/>
                <a:gd name="T23" fmla="*/ 30 h 74"/>
                <a:gd name="T24" fmla="*/ 4 w 74"/>
                <a:gd name="T25" fmla="*/ 22 h 74"/>
                <a:gd name="T26" fmla="*/ 8 w 74"/>
                <a:gd name="T27" fmla="*/ 16 h 74"/>
                <a:gd name="T28" fmla="*/ 12 w 74"/>
                <a:gd name="T29" fmla="*/ 10 h 74"/>
                <a:gd name="T30" fmla="*/ 18 w 74"/>
                <a:gd name="T31" fmla="*/ 6 h 74"/>
                <a:gd name="T32" fmla="*/ 24 w 74"/>
                <a:gd name="T33" fmla="*/ 2 h 74"/>
                <a:gd name="T34" fmla="*/ 30 w 74"/>
                <a:gd name="T35" fmla="*/ 0 h 74"/>
                <a:gd name="T36" fmla="*/ 38 w 74"/>
                <a:gd name="T37" fmla="*/ 0 h 74"/>
                <a:gd name="T38" fmla="*/ 38 w 74"/>
                <a:gd name="T39" fmla="*/ 0 h 74"/>
                <a:gd name="T40" fmla="*/ 46 w 74"/>
                <a:gd name="T41" fmla="*/ 0 h 74"/>
                <a:gd name="T42" fmla="*/ 52 w 74"/>
                <a:gd name="T43" fmla="*/ 2 h 74"/>
                <a:gd name="T44" fmla="*/ 58 w 74"/>
                <a:gd name="T45" fmla="*/ 6 h 74"/>
                <a:gd name="T46" fmla="*/ 64 w 74"/>
                <a:gd name="T47" fmla="*/ 10 h 74"/>
                <a:gd name="T48" fmla="*/ 68 w 74"/>
                <a:gd name="T49" fmla="*/ 16 h 74"/>
                <a:gd name="T50" fmla="*/ 72 w 74"/>
                <a:gd name="T51" fmla="*/ 22 h 74"/>
                <a:gd name="T52" fmla="*/ 74 w 74"/>
                <a:gd name="T53" fmla="*/ 30 h 74"/>
                <a:gd name="T54" fmla="*/ 74 w 74"/>
                <a:gd name="T55" fmla="*/ 36 h 74"/>
                <a:gd name="T56" fmla="*/ 74 w 74"/>
                <a:gd name="T57" fmla="*/ 36 h 74"/>
                <a:gd name="T58" fmla="*/ 74 w 74"/>
                <a:gd name="T59" fmla="*/ 44 h 74"/>
                <a:gd name="T60" fmla="*/ 72 w 74"/>
                <a:gd name="T61" fmla="*/ 50 h 74"/>
                <a:gd name="T62" fmla="*/ 68 w 74"/>
                <a:gd name="T63" fmla="*/ 58 h 74"/>
                <a:gd name="T64" fmla="*/ 64 w 74"/>
                <a:gd name="T65" fmla="*/ 62 h 74"/>
                <a:gd name="T66" fmla="*/ 58 w 74"/>
                <a:gd name="T67" fmla="*/ 66 h 74"/>
                <a:gd name="T68" fmla="*/ 52 w 74"/>
                <a:gd name="T69" fmla="*/ 70 h 74"/>
                <a:gd name="T70" fmla="*/ 46 w 74"/>
                <a:gd name="T71" fmla="*/ 72 h 74"/>
                <a:gd name="T72" fmla="*/ 38 w 74"/>
                <a:gd name="T73" fmla="*/ 74 h 74"/>
                <a:gd name="T74" fmla="*/ 38 w 74"/>
                <a:gd name="T75" fmla="*/ 74 h 74"/>
                <a:gd name="T76" fmla="*/ 38 w 74"/>
                <a:gd name="T77" fmla="*/ 18 h 74"/>
                <a:gd name="T78" fmla="*/ 38 w 74"/>
                <a:gd name="T79" fmla="*/ 18 h 74"/>
                <a:gd name="T80" fmla="*/ 30 w 74"/>
                <a:gd name="T81" fmla="*/ 20 h 74"/>
                <a:gd name="T82" fmla="*/ 24 w 74"/>
                <a:gd name="T83" fmla="*/ 24 h 74"/>
                <a:gd name="T84" fmla="*/ 20 w 74"/>
                <a:gd name="T85" fmla="*/ 30 h 74"/>
                <a:gd name="T86" fmla="*/ 18 w 74"/>
                <a:gd name="T87" fmla="*/ 36 h 74"/>
                <a:gd name="T88" fmla="*/ 18 w 74"/>
                <a:gd name="T89" fmla="*/ 36 h 74"/>
                <a:gd name="T90" fmla="*/ 20 w 74"/>
                <a:gd name="T91" fmla="*/ 44 h 74"/>
                <a:gd name="T92" fmla="*/ 24 w 74"/>
                <a:gd name="T93" fmla="*/ 50 h 74"/>
                <a:gd name="T94" fmla="*/ 30 w 74"/>
                <a:gd name="T95" fmla="*/ 54 h 74"/>
                <a:gd name="T96" fmla="*/ 38 w 74"/>
                <a:gd name="T97" fmla="*/ 56 h 74"/>
                <a:gd name="T98" fmla="*/ 38 w 74"/>
                <a:gd name="T99" fmla="*/ 56 h 74"/>
                <a:gd name="T100" fmla="*/ 46 w 74"/>
                <a:gd name="T101" fmla="*/ 54 h 74"/>
                <a:gd name="T102" fmla="*/ 50 w 74"/>
                <a:gd name="T103" fmla="*/ 50 h 74"/>
                <a:gd name="T104" fmla="*/ 54 w 74"/>
                <a:gd name="T105" fmla="*/ 44 h 74"/>
                <a:gd name="T106" fmla="*/ 56 w 74"/>
                <a:gd name="T107" fmla="*/ 36 h 74"/>
                <a:gd name="T108" fmla="*/ 56 w 74"/>
                <a:gd name="T109" fmla="*/ 36 h 74"/>
                <a:gd name="T110" fmla="*/ 54 w 74"/>
                <a:gd name="T111" fmla="*/ 30 h 74"/>
                <a:gd name="T112" fmla="*/ 50 w 74"/>
                <a:gd name="T113" fmla="*/ 24 h 74"/>
                <a:gd name="T114" fmla="*/ 46 w 74"/>
                <a:gd name="T115" fmla="*/ 20 h 74"/>
                <a:gd name="T116" fmla="*/ 38 w 74"/>
                <a:gd name="T117" fmla="*/ 18 h 74"/>
                <a:gd name="T118" fmla="*/ 38 w 74"/>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4">
                  <a:moveTo>
                    <a:pt x="38" y="74"/>
                  </a:moveTo>
                  <a:lnTo>
                    <a:pt x="38" y="74"/>
                  </a:lnTo>
                  <a:lnTo>
                    <a:pt x="30" y="72"/>
                  </a:lnTo>
                  <a:lnTo>
                    <a:pt x="24" y="70"/>
                  </a:lnTo>
                  <a:lnTo>
                    <a:pt x="18" y="66"/>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6" y="0"/>
                  </a:lnTo>
                  <a:lnTo>
                    <a:pt x="52" y="2"/>
                  </a:lnTo>
                  <a:lnTo>
                    <a:pt x="58" y="6"/>
                  </a:lnTo>
                  <a:lnTo>
                    <a:pt x="64" y="10"/>
                  </a:lnTo>
                  <a:lnTo>
                    <a:pt x="68" y="16"/>
                  </a:lnTo>
                  <a:lnTo>
                    <a:pt x="72" y="22"/>
                  </a:lnTo>
                  <a:lnTo>
                    <a:pt x="74" y="30"/>
                  </a:lnTo>
                  <a:lnTo>
                    <a:pt x="74" y="36"/>
                  </a:lnTo>
                  <a:lnTo>
                    <a:pt x="74" y="36"/>
                  </a:lnTo>
                  <a:lnTo>
                    <a:pt x="74" y="44"/>
                  </a:lnTo>
                  <a:lnTo>
                    <a:pt x="72" y="50"/>
                  </a:lnTo>
                  <a:lnTo>
                    <a:pt x="68" y="58"/>
                  </a:lnTo>
                  <a:lnTo>
                    <a:pt x="64" y="62"/>
                  </a:lnTo>
                  <a:lnTo>
                    <a:pt x="58" y="66"/>
                  </a:lnTo>
                  <a:lnTo>
                    <a:pt x="52" y="70"/>
                  </a:lnTo>
                  <a:lnTo>
                    <a:pt x="46" y="72"/>
                  </a:lnTo>
                  <a:lnTo>
                    <a:pt x="38" y="74"/>
                  </a:lnTo>
                  <a:lnTo>
                    <a:pt x="38" y="74"/>
                  </a:lnTo>
                  <a:close/>
                  <a:moveTo>
                    <a:pt x="38" y="18"/>
                  </a:moveTo>
                  <a:lnTo>
                    <a:pt x="38" y="18"/>
                  </a:lnTo>
                  <a:lnTo>
                    <a:pt x="30" y="20"/>
                  </a:lnTo>
                  <a:lnTo>
                    <a:pt x="24" y="24"/>
                  </a:lnTo>
                  <a:lnTo>
                    <a:pt x="20" y="30"/>
                  </a:lnTo>
                  <a:lnTo>
                    <a:pt x="18" y="36"/>
                  </a:lnTo>
                  <a:lnTo>
                    <a:pt x="18" y="36"/>
                  </a:lnTo>
                  <a:lnTo>
                    <a:pt x="20" y="44"/>
                  </a:lnTo>
                  <a:lnTo>
                    <a:pt x="24" y="50"/>
                  </a:lnTo>
                  <a:lnTo>
                    <a:pt x="30" y="54"/>
                  </a:lnTo>
                  <a:lnTo>
                    <a:pt x="38" y="56"/>
                  </a:lnTo>
                  <a:lnTo>
                    <a:pt x="38" y="56"/>
                  </a:lnTo>
                  <a:lnTo>
                    <a:pt x="46" y="54"/>
                  </a:lnTo>
                  <a:lnTo>
                    <a:pt x="50" y="50"/>
                  </a:lnTo>
                  <a:lnTo>
                    <a:pt x="54" y="44"/>
                  </a:lnTo>
                  <a:lnTo>
                    <a:pt x="56" y="36"/>
                  </a:lnTo>
                  <a:lnTo>
                    <a:pt x="56" y="36"/>
                  </a:lnTo>
                  <a:lnTo>
                    <a:pt x="54" y="30"/>
                  </a:lnTo>
                  <a:lnTo>
                    <a:pt x="50" y="24"/>
                  </a:lnTo>
                  <a:lnTo>
                    <a:pt x="46" y="20"/>
                  </a:lnTo>
                  <a:lnTo>
                    <a:pt x="38" y="18"/>
                  </a:lnTo>
                  <a:lnTo>
                    <a:pt x="3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latin typeface="+mj-lt"/>
                <a:cs typeface="Arial" panose="020B0604020202020204" pitchFamily="34" charset="0"/>
                <a:sym typeface="EYInterstate Light" panose="02000506000000020004" pitchFamily="2" charset="0"/>
              </a:endParaRPr>
            </a:p>
          </p:txBody>
        </p:sp>
        <p:sp>
          <p:nvSpPr>
            <p:cNvPr id="29" name="Freeform 9">
              <a:extLst>
                <a:ext uri="{FF2B5EF4-FFF2-40B4-BE49-F238E27FC236}">
                  <a16:creationId xmlns:a16="http://schemas.microsoft.com/office/drawing/2014/main" id="{91DB556C-EA6A-4323-BC1B-015BFBC3B93C}"/>
                </a:ext>
              </a:extLst>
            </p:cNvPr>
            <p:cNvSpPr>
              <a:spLocks noEditPoints="1"/>
            </p:cNvSpPr>
            <p:nvPr/>
          </p:nvSpPr>
          <p:spPr bwMode="black">
            <a:xfrm>
              <a:off x="1249" y="2070"/>
              <a:ext cx="74" cy="74"/>
            </a:xfrm>
            <a:custGeom>
              <a:avLst/>
              <a:gdLst>
                <a:gd name="T0" fmla="*/ 38 w 74"/>
                <a:gd name="T1" fmla="*/ 74 h 74"/>
                <a:gd name="T2" fmla="*/ 38 w 74"/>
                <a:gd name="T3" fmla="*/ 74 h 74"/>
                <a:gd name="T4" fmla="*/ 30 w 74"/>
                <a:gd name="T5" fmla="*/ 72 h 74"/>
                <a:gd name="T6" fmla="*/ 24 w 74"/>
                <a:gd name="T7" fmla="*/ 70 h 74"/>
                <a:gd name="T8" fmla="*/ 18 w 74"/>
                <a:gd name="T9" fmla="*/ 66 h 74"/>
                <a:gd name="T10" fmla="*/ 12 w 74"/>
                <a:gd name="T11" fmla="*/ 62 h 74"/>
                <a:gd name="T12" fmla="*/ 8 w 74"/>
                <a:gd name="T13" fmla="*/ 58 h 74"/>
                <a:gd name="T14" fmla="*/ 4 w 74"/>
                <a:gd name="T15" fmla="*/ 50 h 74"/>
                <a:gd name="T16" fmla="*/ 2 w 74"/>
                <a:gd name="T17" fmla="*/ 44 h 74"/>
                <a:gd name="T18" fmla="*/ 0 w 74"/>
                <a:gd name="T19" fmla="*/ 36 h 74"/>
                <a:gd name="T20" fmla="*/ 0 w 74"/>
                <a:gd name="T21" fmla="*/ 36 h 74"/>
                <a:gd name="T22" fmla="*/ 2 w 74"/>
                <a:gd name="T23" fmla="*/ 30 h 74"/>
                <a:gd name="T24" fmla="*/ 4 w 74"/>
                <a:gd name="T25" fmla="*/ 22 h 74"/>
                <a:gd name="T26" fmla="*/ 8 w 74"/>
                <a:gd name="T27" fmla="*/ 16 h 74"/>
                <a:gd name="T28" fmla="*/ 12 w 74"/>
                <a:gd name="T29" fmla="*/ 10 h 74"/>
                <a:gd name="T30" fmla="*/ 18 w 74"/>
                <a:gd name="T31" fmla="*/ 6 h 74"/>
                <a:gd name="T32" fmla="*/ 24 w 74"/>
                <a:gd name="T33" fmla="*/ 2 h 74"/>
                <a:gd name="T34" fmla="*/ 30 w 74"/>
                <a:gd name="T35" fmla="*/ 0 h 74"/>
                <a:gd name="T36" fmla="*/ 38 w 74"/>
                <a:gd name="T37" fmla="*/ 0 h 74"/>
                <a:gd name="T38" fmla="*/ 38 w 74"/>
                <a:gd name="T39" fmla="*/ 0 h 74"/>
                <a:gd name="T40" fmla="*/ 44 w 74"/>
                <a:gd name="T41" fmla="*/ 0 h 74"/>
                <a:gd name="T42" fmla="*/ 52 w 74"/>
                <a:gd name="T43" fmla="*/ 2 h 74"/>
                <a:gd name="T44" fmla="*/ 58 w 74"/>
                <a:gd name="T45" fmla="*/ 6 h 74"/>
                <a:gd name="T46" fmla="*/ 64 w 74"/>
                <a:gd name="T47" fmla="*/ 10 h 74"/>
                <a:gd name="T48" fmla="*/ 68 w 74"/>
                <a:gd name="T49" fmla="*/ 16 h 74"/>
                <a:gd name="T50" fmla="*/ 72 w 74"/>
                <a:gd name="T51" fmla="*/ 22 h 74"/>
                <a:gd name="T52" fmla="*/ 74 w 74"/>
                <a:gd name="T53" fmla="*/ 30 h 74"/>
                <a:gd name="T54" fmla="*/ 74 w 74"/>
                <a:gd name="T55" fmla="*/ 36 h 74"/>
                <a:gd name="T56" fmla="*/ 74 w 74"/>
                <a:gd name="T57" fmla="*/ 36 h 74"/>
                <a:gd name="T58" fmla="*/ 74 w 74"/>
                <a:gd name="T59" fmla="*/ 44 h 74"/>
                <a:gd name="T60" fmla="*/ 72 w 74"/>
                <a:gd name="T61" fmla="*/ 50 h 74"/>
                <a:gd name="T62" fmla="*/ 68 w 74"/>
                <a:gd name="T63" fmla="*/ 58 h 74"/>
                <a:gd name="T64" fmla="*/ 64 w 74"/>
                <a:gd name="T65" fmla="*/ 62 h 74"/>
                <a:gd name="T66" fmla="*/ 58 w 74"/>
                <a:gd name="T67" fmla="*/ 66 h 74"/>
                <a:gd name="T68" fmla="*/ 52 w 74"/>
                <a:gd name="T69" fmla="*/ 70 h 74"/>
                <a:gd name="T70" fmla="*/ 44 w 74"/>
                <a:gd name="T71" fmla="*/ 72 h 74"/>
                <a:gd name="T72" fmla="*/ 38 w 74"/>
                <a:gd name="T73" fmla="*/ 74 h 74"/>
                <a:gd name="T74" fmla="*/ 38 w 74"/>
                <a:gd name="T75" fmla="*/ 74 h 74"/>
                <a:gd name="T76" fmla="*/ 38 w 74"/>
                <a:gd name="T77" fmla="*/ 18 h 74"/>
                <a:gd name="T78" fmla="*/ 38 w 74"/>
                <a:gd name="T79" fmla="*/ 18 h 74"/>
                <a:gd name="T80" fmla="*/ 30 w 74"/>
                <a:gd name="T81" fmla="*/ 20 h 74"/>
                <a:gd name="T82" fmla="*/ 24 w 74"/>
                <a:gd name="T83" fmla="*/ 24 h 74"/>
                <a:gd name="T84" fmla="*/ 20 w 74"/>
                <a:gd name="T85" fmla="*/ 30 h 74"/>
                <a:gd name="T86" fmla="*/ 18 w 74"/>
                <a:gd name="T87" fmla="*/ 36 h 74"/>
                <a:gd name="T88" fmla="*/ 18 w 74"/>
                <a:gd name="T89" fmla="*/ 36 h 74"/>
                <a:gd name="T90" fmla="*/ 20 w 74"/>
                <a:gd name="T91" fmla="*/ 44 h 74"/>
                <a:gd name="T92" fmla="*/ 24 w 74"/>
                <a:gd name="T93" fmla="*/ 50 h 74"/>
                <a:gd name="T94" fmla="*/ 30 w 74"/>
                <a:gd name="T95" fmla="*/ 54 h 74"/>
                <a:gd name="T96" fmla="*/ 38 w 74"/>
                <a:gd name="T97" fmla="*/ 56 h 74"/>
                <a:gd name="T98" fmla="*/ 38 w 74"/>
                <a:gd name="T99" fmla="*/ 56 h 74"/>
                <a:gd name="T100" fmla="*/ 44 w 74"/>
                <a:gd name="T101" fmla="*/ 54 h 74"/>
                <a:gd name="T102" fmla="*/ 50 w 74"/>
                <a:gd name="T103" fmla="*/ 50 h 74"/>
                <a:gd name="T104" fmla="*/ 54 w 74"/>
                <a:gd name="T105" fmla="*/ 44 h 74"/>
                <a:gd name="T106" fmla="*/ 56 w 74"/>
                <a:gd name="T107" fmla="*/ 36 h 74"/>
                <a:gd name="T108" fmla="*/ 56 w 74"/>
                <a:gd name="T109" fmla="*/ 36 h 74"/>
                <a:gd name="T110" fmla="*/ 54 w 74"/>
                <a:gd name="T111" fmla="*/ 30 h 74"/>
                <a:gd name="T112" fmla="*/ 50 w 74"/>
                <a:gd name="T113" fmla="*/ 24 h 74"/>
                <a:gd name="T114" fmla="*/ 44 w 74"/>
                <a:gd name="T115" fmla="*/ 20 h 74"/>
                <a:gd name="T116" fmla="*/ 38 w 74"/>
                <a:gd name="T117" fmla="*/ 18 h 74"/>
                <a:gd name="T118" fmla="*/ 38 w 74"/>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4">
                  <a:moveTo>
                    <a:pt x="38" y="74"/>
                  </a:moveTo>
                  <a:lnTo>
                    <a:pt x="38" y="74"/>
                  </a:lnTo>
                  <a:lnTo>
                    <a:pt x="30" y="72"/>
                  </a:lnTo>
                  <a:lnTo>
                    <a:pt x="24" y="70"/>
                  </a:lnTo>
                  <a:lnTo>
                    <a:pt x="18" y="66"/>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36"/>
                  </a:lnTo>
                  <a:lnTo>
                    <a:pt x="74" y="44"/>
                  </a:lnTo>
                  <a:lnTo>
                    <a:pt x="72" y="50"/>
                  </a:lnTo>
                  <a:lnTo>
                    <a:pt x="68" y="58"/>
                  </a:lnTo>
                  <a:lnTo>
                    <a:pt x="64" y="62"/>
                  </a:lnTo>
                  <a:lnTo>
                    <a:pt x="58" y="66"/>
                  </a:lnTo>
                  <a:lnTo>
                    <a:pt x="52" y="70"/>
                  </a:lnTo>
                  <a:lnTo>
                    <a:pt x="44" y="72"/>
                  </a:lnTo>
                  <a:lnTo>
                    <a:pt x="38" y="74"/>
                  </a:lnTo>
                  <a:lnTo>
                    <a:pt x="38" y="74"/>
                  </a:lnTo>
                  <a:close/>
                  <a:moveTo>
                    <a:pt x="38" y="18"/>
                  </a:moveTo>
                  <a:lnTo>
                    <a:pt x="38" y="18"/>
                  </a:lnTo>
                  <a:lnTo>
                    <a:pt x="30" y="20"/>
                  </a:lnTo>
                  <a:lnTo>
                    <a:pt x="24" y="24"/>
                  </a:lnTo>
                  <a:lnTo>
                    <a:pt x="20" y="30"/>
                  </a:lnTo>
                  <a:lnTo>
                    <a:pt x="18" y="36"/>
                  </a:lnTo>
                  <a:lnTo>
                    <a:pt x="18" y="36"/>
                  </a:lnTo>
                  <a:lnTo>
                    <a:pt x="20" y="44"/>
                  </a:lnTo>
                  <a:lnTo>
                    <a:pt x="24" y="50"/>
                  </a:lnTo>
                  <a:lnTo>
                    <a:pt x="30" y="54"/>
                  </a:lnTo>
                  <a:lnTo>
                    <a:pt x="38" y="56"/>
                  </a:lnTo>
                  <a:lnTo>
                    <a:pt x="38" y="56"/>
                  </a:lnTo>
                  <a:lnTo>
                    <a:pt x="44" y="54"/>
                  </a:lnTo>
                  <a:lnTo>
                    <a:pt x="50" y="50"/>
                  </a:lnTo>
                  <a:lnTo>
                    <a:pt x="54" y="44"/>
                  </a:lnTo>
                  <a:lnTo>
                    <a:pt x="56" y="36"/>
                  </a:lnTo>
                  <a:lnTo>
                    <a:pt x="56" y="36"/>
                  </a:lnTo>
                  <a:lnTo>
                    <a:pt x="54" y="30"/>
                  </a:lnTo>
                  <a:lnTo>
                    <a:pt x="50" y="24"/>
                  </a:lnTo>
                  <a:lnTo>
                    <a:pt x="44" y="20"/>
                  </a:lnTo>
                  <a:lnTo>
                    <a:pt x="38" y="18"/>
                  </a:lnTo>
                  <a:lnTo>
                    <a:pt x="3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IN">
                <a:latin typeface="+mj-lt"/>
                <a:cs typeface="Arial" panose="020B0604020202020204" pitchFamily="34" charset="0"/>
                <a:sym typeface="EYInterstate Light" panose="02000506000000020004" pitchFamily="2" charset="0"/>
              </a:endParaRPr>
            </a:p>
          </p:txBody>
        </p:sp>
      </p:grpSp>
      <p:sp>
        <p:nvSpPr>
          <p:cNvPr id="30" name="Rectangle 29">
            <a:extLst>
              <a:ext uri="{FF2B5EF4-FFF2-40B4-BE49-F238E27FC236}">
                <a16:creationId xmlns:a16="http://schemas.microsoft.com/office/drawing/2014/main" id="{EB0B7E1F-A88F-4968-815E-77F23B84C96E}"/>
              </a:ext>
            </a:extLst>
          </p:cNvPr>
          <p:cNvSpPr/>
          <p:nvPr/>
        </p:nvSpPr>
        <p:spPr>
          <a:xfrm>
            <a:off x="615366" y="5496658"/>
            <a:ext cx="2560320" cy="38153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IN" sz="1600" b="1" dirty="0">
                <a:solidFill>
                  <a:schemeClr val="bg1"/>
                </a:solidFill>
                <a:latin typeface="+mj-lt"/>
              </a:rPr>
              <a:t>Dataset (embed </a:t>
            </a:r>
            <a:r>
              <a:rPr lang="en-IN" sz="1600" b="1" dirty="0" err="1">
                <a:solidFill>
                  <a:schemeClr val="bg1"/>
                </a:solidFill>
                <a:latin typeface="+mj-lt"/>
              </a:rPr>
              <a:t>xls</a:t>
            </a:r>
            <a:r>
              <a:rPr lang="en-IN" sz="1600" b="1" dirty="0">
                <a:solidFill>
                  <a:schemeClr val="bg1"/>
                </a:solidFill>
                <a:latin typeface="+mj-lt"/>
              </a:rPr>
              <a:t>)</a:t>
            </a:r>
            <a:endParaRPr lang="en-IN" sz="2000" b="1" dirty="0">
              <a:solidFill>
                <a:schemeClr val="bg1"/>
              </a:solidFill>
              <a:latin typeface="+mj-lt"/>
            </a:endParaRPr>
          </a:p>
        </p:txBody>
      </p:sp>
      <p:sp>
        <p:nvSpPr>
          <p:cNvPr id="31" name="TextBox 30">
            <a:extLst>
              <a:ext uri="{FF2B5EF4-FFF2-40B4-BE49-F238E27FC236}">
                <a16:creationId xmlns:a16="http://schemas.microsoft.com/office/drawing/2014/main" id="{D4092AA2-B3A6-47C7-93EA-3A1230D0403C}"/>
              </a:ext>
            </a:extLst>
          </p:cNvPr>
          <p:cNvSpPr txBox="1"/>
          <p:nvPr/>
        </p:nvSpPr>
        <p:spPr>
          <a:xfrm>
            <a:off x="4681316" y="2696275"/>
            <a:ext cx="6888374" cy="369332"/>
          </a:xfrm>
          <a:prstGeom prst="rect">
            <a:avLst/>
          </a:prstGeom>
          <a:solidFill>
            <a:schemeClr val="tx2"/>
          </a:solidFill>
        </p:spPr>
        <p:txBody>
          <a:bodyPr wrap="square">
            <a:spAutoFit/>
          </a:bodyPr>
          <a:lstStyle/>
          <a:p>
            <a:pPr algn="ctr"/>
            <a:r>
              <a:rPr lang="en-IN" sz="1800" b="1" dirty="0">
                <a:solidFill>
                  <a:schemeClr val="bg1"/>
                </a:solidFill>
                <a:latin typeface="+mj-lt"/>
              </a:rPr>
              <a:t>Business Objective?</a:t>
            </a:r>
            <a:endParaRPr lang="en-IN" dirty="0">
              <a:latin typeface="+mj-lt"/>
            </a:endParaRPr>
          </a:p>
        </p:txBody>
      </p:sp>
      <p:grpSp>
        <p:nvGrpSpPr>
          <p:cNvPr id="33" name="Group 32">
            <a:extLst>
              <a:ext uri="{FF2B5EF4-FFF2-40B4-BE49-F238E27FC236}">
                <a16:creationId xmlns:a16="http://schemas.microsoft.com/office/drawing/2014/main" id="{306D82BF-A79E-4586-B6E7-CACAE8EEA02D}"/>
              </a:ext>
            </a:extLst>
          </p:cNvPr>
          <p:cNvGrpSpPr/>
          <p:nvPr/>
        </p:nvGrpSpPr>
        <p:grpSpPr>
          <a:xfrm>
            <a:off x="4681316" y="3201560"/>
            <a:ext cx="7037056" cy="2379101"/>
            <a:chOff x="5016184" y="3433129"/>
            <a:chExt cx="5162117" cy="1731485"/>
          </a:xfrm>
        </p:grpSpPr>
        <p:sp>
          <p:nvSpPr>
            <p:cNvPr id="34" name="Rectangle: Top Corners Rounded 33">
              <a:extLst>
                <a:ext uri="{FF2B5EF4-FFF2-40B4-BE49-F238E27FC236}">
                  <a16:creationId xmlns:a16="http://schemas.microsoft.com/office/drawing/2014/main" id="{F3EF5A68-9C81-41E6-9469-CE0ADF57E30A}"/>
                </a:ext>
              </a:extLst>
            </p:cNvPr>
            <p:cNvSpPr/>
            <p:nvPr/>
          </p:nvSpPr>
          <p:spPr>
            <a:xfrm>
              <a:off x="5016184" y="3433129"/>
              <a:ext cx="1508966" cy="1126411"/>
            </a:xfrm>
            <a:prstGeom prst="round2SameRect">
              <a:avLst>
                <a:gd name="adj1" fmla="val 8000"/>
                <a:gd name="adj2" fmla="val 0"/>
              </a:avLst>
            </a:prstGeom>
            <a:solidFill>
              <a:schemeClr val="tx1">
                <a:lumMod val="95000"/>
                <a:alpha val="90000"/>
              </a:schemeClr>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en-IN" b="1" dirty="0">
                  <a:solidFill>
                    <a:schemeClr val="bg2"/>
                  </a:solidFill>
                  <a:latin typeface="+mj-lt"/>
                </a:rPr>
                <a:t>Customer Understanding</a:t>
              </a:r>
            </a:p>
          </p:txBody>
        </p:sp>
        <p:sp>
          <p:nvSpPr>
            <p:cNvPr id="35" name="Freeform: Shape 34">
              <a:extLst>
                <a:ext uri="{FF2B5EF4-FFF2-40B4-BE49-F238E27FC236}">
                  <a16:creationId xmlns:a16="http://schemas.microsoft.com/office/drawing/2014/main" id="{34A1EB80-4F17-4660-B3D6-E285993E21BB}"/>
                </a:ext>
              </a:extLst>
            </p:cNvPr>
            <p:cNvSpPr/>
            <p:nvPr/>
          </p:nvSpPr>
          <p:spPr>
            <a:xfrm>
              <a:off x="5016184" y="4559540"/>
              <a:ext cx="1508966" cy="484356"/>
            </a:xfrm>
            <a:custGeom>
              <a:avLst/>
              <a:gdLst>
                <a:gd name="connsiteX0" fmla="*/ 0 w 1508966"/>
                <a:gd name="connsiteY0" fmla="*/ 0 h 484356"/>
                <a:gd name="connsiteX1" fmla="*/ 1508966 w 1508966"/>
                <a:gd name="connsiteY1" fmla="*/ 0 h 484356"/>
                <a:gd name="connsiteX2" fmla="*/ 1508966 w 1508966"/>
                <a:gd name="connsiteY2" fmla="*/ 484356 h 484356"/>
                <a:gd name="connsiteX3" fmla="*/ 0 w 1508966"/>
                <a:gd name="connsiteY3" fmla="*/ 484356 h 484356"/>
                <a:gd name="connsiteX4" fmla="*/ 0 w 1508966"/>
                <a:gd name="connsiteY4" fmla="*/ 0 h 484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966" h="484356">
                  <a:moveTo>
                    <a:pt x="0" y="0"/>
                  </a:moveTo>
                  <a:lnTo>
                    <a:pt x="1508966" y="0"/>
                  </a:lnTo>
                  <a:lnTo>
                    <a:pt x="1508966" y="484356"/>
                  </a:lnTo>
                  <a:lnTo>
                    <a:pt x="0" y="48435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0490" tIns="0" rIns="483144" bIns="0" numCol="1" spcCol="1270" anchor="ctr" anchorCtr="0">
              <a:noAutofit/>
            </a:bodyPr>
            <a:lstStyle/>
            <a:p>
              <a:pPr marL="0" lvl="0" indent="0" algn="ctr" defTabSz="1289050">
                <a:lnSpc>
                  <a:spcPct val="90000"/>
                </a:lnSpc>
                <a:spcBef>
                  <a:spcPct val="0"/>
                </a:spcBef>
                <a:spcAft>
                  <a:spcPct val="35000"/>
                </a:spcAft>
                <a:buNone/>
              </a:pPr>
              <a:r>
                <a:rPr lang="en-IN" sz="2900" kern="1200" dirty="0">
                  <a:solidFill>
                    <a:schemeClr val="tx1"/>
                  </a:solidFill>
                  <a:latin typeface="+mj-lt"/>
                </a:rPr>
                <a:t>    A</a:t>
              </a:r>
            </a:p>
          </p:txBody>
        </p:sp>
        <p:sp>
          <p:nvSpPr>
            <p:cNvPr id="36" name="Oval 35">
              <a:extLst>
                <a:ext uri="{FF2B5EF4-FFF2-40B4-BE49-F238E27FC236}">
                  <a16:creationId xmlns:a16="http://schemas.microsoft.com/office/drawing/2014/main" id="{796E20CB-BD6A-4ABE-8DD5-3D25FDD77182}"/>
                </a:ext>
              </a:extLst>
            </p:cNvPr>
            <p:cNvSpPr/>
            <p:nvPr/>
          </p:nvSpPr>
          <p:spPr>
            <a:xfrm>
              <a:off x="6121523" y="4636476"/>
              <a:ext cx="528138" cy="528138"/>
            </a:xfrm>
            <a:prstGeom prst="ellipse">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Rectangle: Top Corners Rounded 36">
              <a:extLst>
                <a:ext uri="{FF2B5EF4-FFF2-40B4-BE49-F238E27FC236}">
                  <a16:creationId xmlns:a16="http://schemas.microsoft.com/office/drawing/2014/main" id="{07A670AE-5297-46BC-9A5E-73B4708C72E0}"/>
                </a:ext>
              </a:extLst>
            </p:cNvPr>
            <p:cNvSpPr/>
            <p:nvPr/>
          </p:nvSpPr>
          <p:spPr>
            <a:xfrm>
              <a:off x="6780504" y="3433129"/>
              <a:ext cx="1508966" cy="1126411"/>
            </a:xfrm>
            <a:prstGeom prst="round2SameRect">
              <a:avLst>
                <a:gd name="adj1" fmla="val 8000"/>
                <a:gd name="adj2" fmla="val 0"/>
              </a:avLst>
            </a:prstGeom>
            <a:solidFill>
              <a:schemeClr val="tx1">
                <a:lumMod val="95000"/>
                <a:alpha val="90000"/>
              </a:schemeClr>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en-IN" b="1" dirty="0">
                  <a:solidFill>
                    <a:schemeClr val="bg2"/>
                  </a:solidFill>
                  <a:latin typeface="+mj-lt"/>
                </a:rPr>
                <a:t>Target Marketing</a:t>
              </a:r>
            </a:p>
          </p:txBody>
        </p:sp>
        <p:sp>
          <p:nvSpPr>
            <p:cNvPr id="38" name="Freeform: Shape 37">
              <a:extLst>
                <a:ext uri="{FF2B5EF4-FFF2-40B4-BE49-F238E27FC236}">
                  <a16:creationId xmlns:a16="http://schemas.microsoft.com/office/drawing/2014/main" id="{7E0DA477-6773-483C-BCC6-E2AB66841713}"/>
                </a:ext>
              </a:extLst>
            </p:cNvPr>
            <p:cNvSpPr/>
            <p:nvPr/>
          </p:nvSpPr>
          <p:spPr>
            <a:xfrm>
              <a:off x="6780504" y="4559540"/>
              <a:ext cx="1508966" cy="484356"/>
            </a:xfrm>
            <a:custGeom>
              <a:avLst/>
              <a:gdLst>
                <a:gd name="connsiteX0" fmla="*/ 0 w 1508966"/>
                <a:gd name="connsiteY0" fmla="*/ 0 h 484356"/>
                <a:gd name="connsiteX1" fmla="*/ 1508966 w 1508966"/>
                <a:gd name="connsiteY1" fmla="*/ 0 h 484356"/>
                <a:gd name="connsiteX2" fmla="*/ 1508966 w 1508966"/>
                <a:gd name="connsiteY2" fmla="*/ 484356 h 484356"/>
                <a:gd name="connsiteX3" fmla="*/ 0 w 1508966"/>
                <a:gd name="connsiteY3" fmla="*/ 484356 h 484356"/>
                <a:gd name="connsiteX4" fmla="*/ 0 w 1508966"/>
                <a:gd name="connsiteY4" fmla="*/ 0 h 484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966" h="484356">
                  <a:moveTo>
                    <a:pt x="0" y="0"/>
                  </a:moveTo>
                  <a:lnTo>
                    <a:pt x="1508966" y="0"/>
                  </a:lnTo>
                  <a:lnTo>
                    <a:pt x="1508966" y="484356"/>
                  </a:lnTo>
                  <a:lnTo>
                    <a:pt x="0" y="48435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0490" tIns="0" rIns="483144" bIns="0" numCol="1" spcCol="1270" anchor="ctr" anchorCtr="0">
              <a:noAutofit/>
            </a:bodyPr>
            <a:lstStyle/>
            <a:p>
              <a:pPr marL="0" lvl="0" indent="0" algn="ctr" defTabSz="1289050">
                <a:lnSpc>
                  <a:spcPct val="90000"/>
                </a:lnSpc>
                <a:spcBef>
                  <a:spcPct val="0"/>
                </a:spcBef>
                <a:spcAft>
                  <a:spcPct val="35000"/>
                </a:spcAft>
                <a:buNone/>
              </a:pPr>
              <a:r>
                <a:rPr lang="en-IN" sz="2900" kern="1200" dirty="0">
                  <a:solidFill>
                    <a:schemeClr val="tx1"/>
                  </a:solidFill>
                  <a:latin typeface="+mj-lt"/>
                </a:rPr>
                <a:t> B</a:t>
              </a:r>
              <a:endParaRPr lang="en-IN" sz="2900" kern="1200" dirty="0">
                <a:latin typeface="+mj-lt"/>
              </a:endParaRPr>
            </a:p>
          </p:txBody>
        </p:sp>
        <p:sp>
          <p:nvSpPr>
            <p:cNvPr id="39" name="Oval 38">
              <a:extLst>
                <a:ext uri="{FF2B5EF4-FFF2-40B4-BE49-F238E27FC236}">
                  <a16:creationId xmlns:a16="http://schemas.microsoft.com/office/drawing/2014/main" id="{7696B493-6B8C-4EAE-B1A8-B1C5A7175B05}"/>
                </a:ext>
              </a:extLst>
            </p:cNvPr>
            <p:cNvSpPr/>
            <p:nvPr/>
          </p:nvSpPr>
          <p:spPr>
            <a:xfrm>
              <a:off x="7885843" y="4636476"/>
              <a:ext cx="528138" cy="528138"/>
            </a:xfrm>
            <a:prstGeom prst="ellipse">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0" name="Rectangle: Top Corners Rounded 39">
              <a:extLst>
                <a:ext uri="{FF2B5EF4-FFF2-40B4-BE49-F238E27FC236}">
                  <a16:creationId xmlns:a16="http://schemas.microsoft.com/office/drawing/2014/main" id="{9ED0934D-47F5-452F-96CC-047008DE6960}"/>
                </a:ext>
              </a:extLst>
            </p:cNvPr>
            <p:cNvSpPr/>
            <p:nvPr/>
          </p:nvSpPr>
          <p:spPr>
            <a:xfrm>
              <a:off x="8544824" y="3433129"/>
              <a:ext cx="1508966" cy="1126411"/>
            </a:xfrm>
            <a:prstGeom prst="round2SameRect">
              <a:avLst>
                <a:gd name="adj1" fmla="val 8000"/>
                <a:gd name="adj2" fmla="val 0"/>
              </a:avLst>
            </a:prstGeom>
            <a:solidFill>
              <a:schemeClr val="tx1">
                <a:lumMod val="95000"/>
                <a:alpha val="90000"/>
              </a:schemeClr>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en-IN" b="1" dirty="0">
                  <a:solidFill>
                    <a:schemeClr val="bg2"/>
                  </a:solidFill>
                  <a:latin typeface="+mj-lt"/>
                </a:rPr>
                <a:t>Higher Revenues</a:t>
              </a:r>
            </a:p>
          </p:txBody>
        </p:sp>
        <p:sp>
          <p:nvSpPr>
            <p:cNvPr id="41" name="Freeform: Shape 40">
              <a:extLst>
                <a:ext uri="{FF2B5EF4-FFF2-40B4-BE49-F238E27FC236}">
                  <a16:creationId xmlns:a16="http://schemas.microsoft.com/office/drawing/2014/main" id="{46AE0276-A164-41AE-845A-7139DEDA1A7C}"/>
                </a:ext>
              </a:extLst>
            </p:cNvPr>
            <p:cNvSpPr/>
            <p:nvPr/>
          </p:nvSpPr>
          <p:spPr>
            <a:xfrm>
              <a:off x="8544824" y="4559540"/>
              <a:ext cx="1508966" cy="484356"/>
            </a:xfrm>
            <a:custGeom>
              <a:avLst/>
              <a:gdLst>
                <a:gd name="connsiteX0" fmla="*/ 0 w 1508966"/>
                <a:gd name="connsiteY0" fmla="*/ 0 h 484356"/>
                <a:gd name="connsiteX1" fmla="*/ 1508966 w 1508966"/>
                <a:gd name="connsiteY1" fmla="*/ 0 h 484356"/>
                <a:gd name="connsiteX2" fmla="*/ 1508966 w 1508966"/>
                <a:gd name="connsiteY2" fmla="*/ 484356 h 484356"/>
                <a:gd name="connsiteX3" fmla="*/ 0 w 1508966"/>
                <a:gd name="connsiteY3" fmla="*/ 484356 h 484356"/>
                <a:gd name="connsiteX4" fmla="*/ 0 w 1508966"/>
                <a:gd name="connsiteY4" fmla="*/ 0 h 484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966" h="484356">
                  <a:moveTo>
                    <a:pt x="0" y="0"/>
                  </a:moveTo>
                  <a:lnTo>
                    <a:pt x="1508966" y="0"/>
                  </a:lnTo>
                  <a:lnTo>
                    <a:pt x="1508966" y="484356"/>
                  </a:lnTo>
                  <a:lnTo>
                    <a:pt x="0" y="484356"/>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0490" tIns="0" rIns="483144" bIns="0" numCol="1" spcCol="1270" anchor="ctr" anchorCtr="0">
              <a:noAutofit/>
            </a:bodyPr>
            <a:lstStyle/>
            <a:p>
              <a:pPr marL="0" lvl="0" indent="0" algn="ctr" defTabSz="1289050">
                <a:lnSpc>
                  <a:spcPct val="90000"/>
                </a:lnSpc>
                <a:spcBef>
                  <a:spcPct val="0"/>
                </a:spcBef>
                <a:spcAft>
                  <a:spcPct val="35000"/>
                </a:spcAft>
                <a:buNone/>
              </a:pPr>
              <a:r>
                <a:rPr lang="en-IN" sz="2900" kern="1200" dirty="0">
                  <a:solidFill>
                    <a:schemeClr val="tx1"/>
                  </a:solidFill>
                  <a:latin typeface="+mj-lt"/>
                </a:rPr>
                <a:t> C</a:t>
              </a:r>
            </a:p>
          </p:txBody>
        </p:sp>
        <p:sp>
          <p:nvSpPr>
            <p:cNvPr id="42" name="Oval 41">
              <a:extLst>
                <a:ext uri="{FF2B5EF4-FFF2-40B4-BE49-F238E27FC236}">
                  <a16:creationId xmlns:a16="http://schemas.microsoft.com/office/drawing/2014/main" id="{7DB1C460-C2FE-446A-BD05-1565592879E4}"/>
                </a:ext>
              </a:extLst>
            </p:cNvPr>
            <p:cNvSpPr/>
            <p:nvPr/>
          </p:nvSpPr>
          <p:spPr>
            <a:xfrm>
              <a:off x="9650163" y="4636476"/>
              <a:ext cx="528138" cy="528138"/>
            </a:xfrm>
            <a:prstGeom prst="ellipse">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grpSp>
      <p:sp>
        <p:nvSpPr>
          <p:cNvPr id="43" name="TextBox 42">
            <a:extLst>
              <a:ext uri="{FF2B5EF4-FFF2-40B4-BE49-F238E27FC236}">
                <a16:creationId xmlns:a16="http://schemas.microsoft.com/office/drawing/2014/main" id="{49FEFDD0-7206-4C1D-B7E3-CC87B66AF6E8}"/>
              </a:ext>
            </a:extLst>
          </p:cNvPr>
          <p:cNvSpPr txBox="1"/>
          <p:nvPr/>
        </p:nvSpPr>
        <p:spPr>
          <a:xfrm>
            <a:off x="8804828" y="1277338"/>
            <a:ext cx="1436452" cy="276999"/>
          </a:xfrm>
          <a:prstGeom prst="rect">
            <a:avLst/>
          </a:prstGeom>
          <a:solidFill>
            <a:schemeClr val="tx1">
              <a:lumMod val="95000"/>
            </a:schemeClr>
          </a:solidFill>
        </p:spPr>
        <p:txBody>
          <a:bodyPr wrap="square">
            <a:spAutoFit/>
          </a:bodyPr>
          <a:lstStyle/>
          <a:p>
            <a:pPr algn="ctr"/>
            <a:r>
              <a:rPr lang="en-IN" sz="1200" b="1" dirty="0">
                <a:solidFill>
                  <a:schemeClr val="bg2"/>
                </a:solidFill>
                <a:latin typeface="+mj-lt"/>
              </a:rPr>
              <a:t>Retailer Types</a:t>
            </a:r>
          </a:p>
        </p:txBody>
      </p:sp>
      <p:sp>
        <p:nvSpPr>
          <p:cNvPr id="44" name="TextBox 43">
            <a:extLst>
              <a:ext uri="{FF2B5EF4-FFF2-40B4-BE49-F238E27FC236}">
                <a16:creationId xmlns:a16="http://schemas.microsoft.com/office/drawing/2014/main" id="{6DA824C6-E741-4A86-8BD5-AAC9F36B21C9}"/>
              </a:ext>
            </a:extLst>
          </p:cNvPr>
          <p:cNvSpPr txBox="1"/>
          <p:nvPr/>
        </p:nvSpPr>
        <p:spPr>
          <a:xfrm>
            <a:off x="10292080" y="1277338"/>
            <a:ext cx="1436452" cy="276999"/>
          </a:xfrm>
          <a:prstGeom prst="rect">
            <a:avLst/>
          </a:prstGeom>
          <a:solidFill>
            <a:schemeClr val="tx1">
              <a:lumMod val="95000"/>
            </a:schemeClr>
          </a:solidFill>
        </p:spPr>
        <p:txBody>
          <a:bodyPr wrap="square">
            <a:spAutoFit/>
          </a:bodyPr>
          <a:lstStyle/>
          <a:p>
            <a:pPr algn="ctr"/>
            <a:r>
              <a:rPr lang="en-IN" sz="1200" b="1" dirty="0">
                <a:solidFill>
                  <a:schemeClr val="bg2"/>
                </a:solidFill>
                <a:latin typeface="+mj-lt"/>
              </a:rPr>
              <a:t>Operating Profit</a:t>
            </a:r>
          </a:p>
        </p:txBody>
      </p:sp>
      <p:sp>
        <p:nvSpPr>
          <p:cNvPr id="45" name="Right Brace 44">
            <a:extLst>
              <a:ext uri="{FF2B5EF4-FFF2-40B4-BE49-F238E27FC236}">
                <a16:creationId xmlns:a16="http://schemas.microsoft.com/office/drawing/2014/main" id="{280297C1-208F-48E4-9F4B-E04340AF14FF}"/>
              </a:ext>
            </a:extLst>
          </p:cNvPr>
          <p:cNvSpPr/>
          <p:nvPr/>
        </p:nvSpPr>
        <p:spPr>
          <a:xfrm>
            <a:off x="8379539" y="1216343"/>
            <a:ext cx="365274" cy="1231502"/>
          </a:xfrm>
          <a:prstGeom prst="rightBrac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latin typeface="+mj-lt"/>
            </a:endParaRPr>
          </a:p>
        </p:txBody>
      </p:sp>
      <p:grpSp>
        <p:nvGrpSpPr>
          <p:cNvPr id="46" name="Group 45">
            <a:extLst>
              <a:ext uri="{FF2B5EF4-FFF2-40B4-BE49-F238E27FC236}">
                <a16:creationId xmlns:a16="http://schemas.microsoft.com/office/drawing/2014/main" id="{7F4FF0D8-FBCD-4DF0-B647-A1B7561AA266}"/>
              </a:ext>
            </a:extLst>
          </p:cNvPr>
          <p:cNvGrpSpPr>
            <a:grpSpLocks noChangeAspect="1"/>
          </p:cNvGrpSpPr>
          <p:nvPr/>
        </p:nvGrpSpPr>
        <p:grpSpPr bwMode="black">
          <a:xfrm>
            <a:off x="4811699" y="1253260"/>
            <a:ext cx="774700" cy="1059379"/>
            <a:chOff x="2487" y="1742"/>
            <a:chExt cx="664" cy="908"/>
          </a:xfrm>
          <a:solidFill>
            <a:schemeClr val="bg2"/>
          </a:solidFill>
        </p:grpSpPr>
        <p:sp>
          <p:nvSpPr>
            <p:cNvPr id="47" name="Freeform 13">
              <a:extLst>
                <a:ext uri="{FF2B5EF4-FFF2-40B4-BE49-F238E27FC236}">
                  <a16:creationId xmlns:a16="http://schemas.microsoft.com/office/drawing/2014/main" id="{E96CC064-CEC0-4E13-B8EA-36C82306EB3B}"/>
                </a:ext>
              </a:extLst>
            </p:cNvPr>
            <p:cNvSpPr>
              <a:spLocks noEditPoints="1"/>
            </p:cNvSpPr>
            <p:nvPr/>
          </p:nvSpPr>
          <p:spPr bwMode="black">
            <a:xfrm>
              <a:off x="2537" y="1802"/>
              <a:ext cx="562" cy="796"/>
            </a:xfrm>
            <a:custGeom>
              <a:avLst/>
              <a:gdLst>
                <a:gd name="T0" fmla="*/ 170 w 562"/>
                <a:gd name="T1" fmla="*/ 540 h 796"/>
                <a:gd name="T2" fmla="*/ 132 w 562"/>
                <a:gd name="T3" fmla="*/ 520 h 796"/>
                <a:gd name="T4" fmla="*/ 84 w 562"/>
                <a:gd name="T5" fmla="*/ 482 h 796"/>
                <a:gd name="T6" fmla="*/ 46 w 562"/>
                <a:gd name="T7" fmla="*/ 436 h 796"/>
                <a:gd name="T8" fmla="*/ 18 w 562"/>
                <a:gd name="T9" fmla="*/ 382 h 796"/>
                <a:gd name="T10" fmla="*/ 2 w 562"/>
                <a:gd name="T11" fmla="*/ 322 h 796"/>
                <a:gd name="T12" fmla="*/ 0 w 562"/>
                <a:gd name="T13" fmla="*/ 282 h 796"/>
                <a:gd name="T14" fmla="*/ 12 w 562"/>
                <a:gd name="T15" fmla="*/ 198 h 796"/>
                <a:gd name="T16" fmla="*/ 48 w 562"/>
                <a:gd name="T17" fmla="*/ 124 h 796"/>
                <a:gd name="T18" fmla="*/ 102 w 562"/>
                <a:gd name="T19" fmla="*/ 64 h 796"/>
                <a:gd name="T20" fmla="*/ 172 w 562"/>
                <a:gd name="T21" fmla="*/ 22 h 796"/>
                <a:gd name="T22" fmla="*/ 252 w 562"/>
                <a:gd name="T23" fmla="*/ 0 h 796"/>
                <a:gd name="T24" fmla="*/ 310 w 562"/>
                <a:gd name="T25" fmla="*/ 0 h 796"/>
                <a:gd name="T26" fmla="*/ 390 w 562"/>
                <a:gd name="T27" fmla="*/ 22 h 796"/>
                <a:gd name="T28" fmla="*/ 460 w 562"/>
                <a:gd name="T29" fmla="*/ 64 h 796"/>
                <a:gd name="T30" fmla="*/ 514 w 562"/>
                <a:gd name="T31" fmla="*/ 124 h 796"/>
                <a:gd name="T32" fmla="*/ 550 w 562"/>
                <a:gd name="T33" fmla="*/ 198 h 796"/>
                <a:gd name="T34" fmla="*/ 562 w 562"/>
                <a:gd name="T35" fmla="*/ 282 h 796"/>
                <a:gd name="T36" fmla="*/ 560 w 562"/>
                <a:gd name="T37" fmla="*/ 324 h 796"/>
                <a:gd name="T38" fmla="*/ 544 w 562"/>
                <a:gd name="T39" fmla="*/ 384 h 796"/>
                <a:gd name="T40" fmla="*/ 516 w 562"/>
                <a:gd name="T41" fmla="*/ 438 h 796"/>
                <a:gd name="T42" fmla="*/ 476 w 562"/>
                <a:gd name="T43" fmla="*/ 484 h 796"/>
                <a:gd name="T44" fmla="*/ 428 w 562"/>
                <a:gd name="T45" fmla="*/ 522 h 796"/>
                <a:gd name="T46" fmla="*/ 390 w 562"/>
                <a:gd name="T47" fmla="*/ 796 h 796"/>
                <a:gd name="T48" fmla="*/ 372 w 562"/>
                <a:gd name="T49" fmla="*/ 528 h 796"/>
                <a:gd name="T50" fmla="*/ 396 w 562"/>
                <a:gd name="T51" fmla="*/ 518 h 796"/>
                <a:gd name="T52" fmla="*/ 446 w 562"/>
                <a:gd name="T53" fmla="*/ 486 h 796"/>
                <a:gd name="T54" fmla="*/ 488 w 562"/>
                <a:gd name="T55" fmla="*/ 446 h 796"/>
                <a:gd name="T56" fmla="*/ 518 w 562"/>
                <a:gd name="T57" fmla="*/ 396 h 796"/>
                <a:gd name="T58" fmla="*/ 538 w 562"/>
                <a:gd name="T59" fmla="*/ 340 h 796"/>
                <a:gd name="T60" fmla="*/ 544 w 562"/>
                <a:gd name="T61" fmla="*/ 282 h 796"/>
                <a:gd name="T62" fmla="*/ 540 w 562"/>
                <a:gd name="T63" fmla="*/ 228 h 796"/>
                <a:gd name="T64" fmla="*/ 512 w 562"/>
                <a:gd name="T65" fmla="*/ 156 h 796"/>
                <a:gd name="T66" fmla="*/ 468 w 562"/>
                <a:gd name="T67" fmla="*/ 94 h 796"/>
                <a:gd name="T68" fmla="*/ 406 w 562"/>
                <a:gd name="T69" fmla="*/ 50 h 796"/>
                <a:gd name="T70" fmla="*/ 334 w 562"/>
                <a:gd name="T71" fmla="*/ 22 h 796"/>
                <a:gd name="T72" fmla="*/ 282 w 562"/>
                <a:gd name="T73" fmla="*/ 18 h 796"/>
                <a:gd name="T74" fmla="*/ 202 w 562"/>
                <a:gd name="T75" fmla="*/ 30 h 796"/>
                <a:gd name="T76" fmla="*/ 134 w 562"/>
                <a:gd name="T77" fmla="*/ 62 h 796"/>
                <a:gd name="T78" fmla="*/ 78 w 562"/>
                <a:gd name="T79" fmla="*/ 114 h 796"/>
                <a:gd name="T80" fmla="*/ 38 w 562"/>
                <a:gd name="T81" fmla="*/ 178 h 796"/>
                <a:gd name="T82" fmla="*/ 18 w 562"/>
                <a:gd name="T83" fmla="*/ 254 h 796"/>
                <a:gd name="T84" fmla="*/ 18 w 562"/>
                <a:gd name="T85" fmla="*/ 302 h 796"/>
                <a:gd name="T86" fmla="*/ 30 w 562"/>
                <a:gd name="T87" fmla="*/ 358 h 796"/>
                <a:gd name="T88" fmla="*/ 52 w 562"/>
                <a:gd name="T89" fmla="*/ 412 h 796"/>
                <a:gd name="T90" fmla="*/ 86 w 562"/>
                <a:gd name="T91" fmla="*/ 458 h 796"/>
                <a:gd name="T92" fmla="*/ 130 w 562"/>
                <a:gd name="T93" fmla="*/ 496 h 796"/>
                <a:gd name="T94" fmla="*/ 182 w 562"/>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796">
                  <a:moveTo>
                    <a:pt x="390" y="796"/>
                  </a:moveTo>
                  <a:lnTo>
                    <a:pt x="170" y="796"/>
                  </a:lnTo>
                  <a:lnTo>
                    <a:pt x="170" y="540"/>
                  </a:lnTo>
                  <a:lnTo>
                    <a:pt x="170" y="540"/>
                  </a:lnTo>
                  <a:lnTo>
                    <a:pt x="150" y="530"/>
                  </a:lnTo>
                  <a:lnTo>
                    <a:pt x="132"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2" y="322"/>
                  </a:lnTo>
                  <a:lnTo>
                    <a:pt x="0" y="302"/>
                  </a:lnTo>
                  <a:lnTo>
                    <a:pt x="0" y="282"/>
                  </a:lnTo>
                  <a:lnTo>
                    <a:pt x="0" y="282"/>
                  </a:lnTo>
                  <a:lnTo>
                    <a:pt x="0" y="252"/>
                  </a:lnTo>
                  <a:lnTo>
                    <a:pt x="6" y="224"/>
                  </a:lnTo>
                  <a:lnTo>
                    <a:pt x="12" y="198"/>
                  </a:lnTo>
                  <a:lnTo>
                    <a:pt x="22" y="172"/>
                  </a:lnTo>
                  <a:lnTo>
                    <a:pt x="34" y="146"/>
                  </a:lnTo>
                  <a:lnTo>
                    <a:pt x="48" y="124"/>
                  </a:lnTo>
                  <a:lnTo>
                    <a:pt x="64" y="102"/>
                  </a:lnTo>
                  <a:lnTo>
                    <a:pt x="82" y="82"/>
                  </a:lnTo>
                  <a:lnTo>
                    <a:pt x="102" y="64"/>
                  </a:lnTo>
                  <a:lnTo>
                    <a:pt x="124" y="48"/>
                  </a:lnTo>
                  <a:lnTo>
                    <a:pt x="146" y="34"/>
                  </a:lnTo>
                  <a:lnTo>
                    <a:pt x="172" y="22"/>
                  </a:lnTo>
                  <a:lnTo>
                    <a:pt x="198" y="12"/>
                  </a:lnTo>
                  <a:lnTo>
                    <a:pt x="224" y="6"/>
                  </a:lnTo>
                  <a:lnTo>
                    <a:pt x="252" y="0"/>
                  </a:lnTo>
                  <a:lnTo>
                    <a:pt x="282" y="0"/>
                  </a:lnTo>
                  <a:lnTo>
                    <a:pt x="282" y="0"/>
                  </a:lnTo>
                  <a:lnTo>
                    <a:pt x="310" y="0"/>
                  </a:lnTo>
                  <a:lnTo>
                    <a:pt x="338" y="6"/>
                  </a:lnTo>
                  <a:lnTo>
                    <a:pt x="364" y="12"/>
                  </a:lnTo>
                  <a:lnTo>
                    <a:pt x="390" y="22"/>
                  </a:lnTo>
                  <a:lnTo>
                    <a:pt x="416" y="34"/>
                  </a:lnTo>
                  <a:lnTo>
                    <a:pt x="438" y="48"/>
                  </a:lnTo>
                  <a:lnTo>
                    <a:pt x="460" y="64"/>
                  </a:lnTo>
                  <a:lnTo>
                    <a:pt x="480" y="82"/>
                  </a:lnTo>
                  <a:lnTo>
                    <a:pt x="498" y="102"/>
                  </a:lnTo>
                  <a:lnTo>
                    <a:pt x="514" y="124"/>
                  </a:lnTo>
                  <a:lnTo>
                    <a:pt x="528" y="146"/>
                  </a:lnTo>
                  <a:lnTo>
                    <a:pt x="540" y="172"/>
                  </a:lnTo>
                  <a:lnTo>
                    <a:pt x="550" y="198"/>
                  </a:lnTo>
                  <a:lnTo>
                    <a:pt x="556" y="224"/>
                  </a:lnTo>
                  <a:lnTo>
                    <a:pt x="562" y="252"/>
                  </a:lnTo>
                  <a:lnTo>
                    <a:pt x="562" y="282"/>
                  </a:lnTo>
                  <a:lnTo>
                    <a:pt x="562" y="282"/>
                  </a:lnTo>
                  <a:lnTo>
                    <a:pt x="562" y="302"/>
                  </a:lnTo>
                  <a:lnTo>
                    <a:pt x="560" y="324"/>
                  </a:lnTo>
                  <a:lnTo>
                    <a:pt x="556" y="344"/>
                  </a:lnTo>
                  <a:lnTo>
                    <a:pt x="550" y="364"/>
                  </a:lnTo>
                  <a:lnTo>
                    <a:pt x="544" y="384"/>
                  </a:lnTo>
                  <a:lnTo>
                    <a:pt x="536" y="402"/>
                  </a:lnTo>
                  <a:lnTo>
                    <a:pt x="526" y="420"/>
                  </a:lnTo>
                  <a:lnTo>
                    <a:pt x="516" y="438"/>
                  </a:lnTo>
                  <a:lnTo>
                    <a:pt x="504" y="454"/>
                  </a:lnTo>
                  <a:lnTo>
                    <a:pt x="490" y="470"/>
                  </a:lnTo>
                  <a:lnTo>
                    <a:pt x="476" y="484"/>
                  </a:lnTo>
                  <a:lnTo>
                    <a:pt x="462" y="498"/>
                  </a:lnTo>
                  <a:lnTo>
                    <a:pt x="444" y="510"/>
                  </a:lnTo>
                  <a:lnTo>
                    <a:pt x="428" y="522"/>
                  </a:lnTo>
                  <a:lnTo>
                    <a:pt x="408"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4" y="460"/>
                  </a:lnTo>
                  <a:lnTo>
                    <a:pt x="488" y="446"/>
                  </a:lnTo>
                  <a:lnTo>
                    <a:pt x="500" y="430"/>
                  </a:lnTo>
                  <a:lnTo>
                    <a:pt x="510" y="414"/>
                  </a:lnTo>
                  <a:lnTo>
                    <a:pt x="518" y="396"/>
                  </a:lnTo>
                  <a:lnTo>
                    <a:pt x="526" y="378"/>
                  </a:lnTo>
                  <a:lnTo>
                    <a:pt x="532" y="360"/>
                  </a:lnTo>
                  <a:lnTo>
                    <a:pt x="538" y="340"/>
                  </a:lnTo>
                  <a:lnTo>
                    <a:pt x="542" y="322"/>
                  </a:lnTo>
                  <a:lnTo>
                    <a:pt x="544" y="302"/>
                  </a:lnTo>
                  <a:lnTo>
                    <a:pt x="544" y="282"/>
                  </a:lnTo>
                  <a:lnTo>
                    <a:pt x="544" y="282"/>
                  </a:lnTo>
                  <a:lnTo>
                    <a:pt x="544" y="254"/>
                  </a:lnTo>
                  <a:lnTo>
                    <a:pt x="540" y="228"/>
                  </a:lnTo>
                  <a:lnTo>
                    <a:pt x="532" y="202"/>
                  </a:lnTo>
                  <a:lnTo>
                    <a:pt x="524" y="178"/>
                  </a:lnTo>
                  <a:lnTo>
                    <a:pt x="512" y="156"/>
                  </a:lnTo>
                  <a:lnTo>
                    <a:pt x="500" y="134"/>
                  </a:lnTo>
                  <a:lnTo>
                    <a:pt x="484" y="114"/>
                  </a:lnTo>
                  <a:lnTo>
                    <a:pt x="468" y="94"/>
                  </a:lnTo>
                  <a:lnTo>
                    <a:pt x="448" y="78"/>
                  </a:lnTo>
                  <a:lnTo>
                    <a:pt x="428" y="62"/>
                  </a:lnTo>
                  <a:lnTo>
                    <a:pt x="406" y="50"/>
                  </a:lnTo>
                  <a:lnTo>
                    <a:pt x="384" y="38"/>
                  </a:lnTo>
                  <a:lnTo>
                    <a:pt x="360" y="30"/>
                  </a:lnTo>
                  <a:lnTo>
                    <a:pt x="334" y="22"/>
                  </a:lnTo>
                  <a:lnTo>
                    <a:pt x="308" y="18"/>
                  </a:lnTo>
                  <a:lnTo>
                    <a:pt x="282" y="18"/>
                  </a:lnTo>
                  <a:lnTo>
                    <a:pt x="282" y="18"/>
                  </a:lnTo>
                  <a:lnTo>
                    <a:pt x="254" y="18"/>
                  </a:lnTo>
                  <a:lnTo>
                    <a:pt x="228" y="22"/>
                  </a:lnTo>
                  <a:lnTo>
                    <a:pt x="202" y="30"/>
                  </a:lnTo>
                  <a:lnTo>
                    <a:pt x="178" y="38"/>
                  </a:lnTo>
                  <a:lnTo>
                    <a:pt x="156" y="50"/>
                  </a:lnTo>
                  <a:lnTo>
                    <a:pt x="134" y="62"/>
                  </a:lnTo>
                  <a:lnTo>
                    <a:pt x="114" y="78"/>
                  </a:lnTo>
                  <a:lnTo>
                    <a:pt x="94" y="94"/>
                  </a:lnTo>
                  <a:lnTo>
                    <a:pt x="78" y="114"/>
                  </a:lnTo>
                  <a:lnTo>
                    <a:pt x="62" y="134"/>
                  </a:lnTo>
                  <a:lnTo>
                    <a:pt x="50" y="156"/>
                  </a:lnTo>
                  <a:lnTo>
                    <a:pt x="38" y="178"/>
                  </a:lnTo>
                  <a:lnTo>
                    <a:pt x="30" y="202"/>
                  </a:lnTo>
                  <a:lnTo>
                    <a:pt x="22" y="228"/>
                  </a:lnTo>
                  <a:lnTo>
                    <a:pt x="18"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8" name="Freeform 14">
              <a:extLst>
                <a:ext uri="{FF2B5EF4-FFF2-40B4-BE49-F238E27FC236}">
                  <a16:creationId xmlns:a16="http://schemas.microsoft.com/office/drawing/2014/main" id="{81AE5FC1-BA42-4176-A144-7F237675C7EE}"/>
                </a:ext>
              </a:extLst>
            </p:cNvPr>
            <p:cNvSpPr>
              <a:spLocks noEditPoints="1"/>
            </p:cNvSpPr>
            <p:nvPr/>
          </p:nvSpPr>
          <p:spPr bwMode="black">
            <a:xfrm>
              <a:off x="2761" y="2580"/>
              <a:ext cx="114" cy="70"/>
            </a:xfrm>
            <a:custGeom>
              <a:avLst/>
              <a:gdLst>
                <a:gd name="T0" fmla="*/ 86 w 114"/>
                <a:gd name="T1" fmla="*/ 70 h 70"/>
                <a:gd name="T2" fmla="*/ 28 w 114"/>
                <a:gd name="T3" fmla="*/ 70 h 70"/>
                <a:gd name="T4" fmla="*/ 0 w 114"/>
                <a:gd name="T5" fmla="*/ 0 h 70"/>
                <a:gd name="T6" fmla="*/ 114 w 114"/>
                <a:gd name="T7" fmla="*/ 0 h 70"/>
                <a:gd name="T8" fmla="*/ 86 w 114"/>
                <a:gd name="T9" fmla="*/ 70 h 70"/>
                <a:gd name="T10" fmla="*/ 40 w 114"/>
                <a:gd name="T11" fmla="*/ 52 h 70"/>
                <a:gd name="T12" fmla="*/ 74 w 114"/>
                <a:gd name="T13" fmla="*/ 52 h 70"/>
                <a:gd name="T14" fmla="*/ 86 w 114"/>
                <a:gd name="T15" fmla="*/ 18 h 70"/>
                <a:gd name="T16" fmla="*/ 28 w 114"/>
                <a:gd name="T17" fmla="*/ 18 h 70"/>
                <a:gd name="T18" fmla="*/ 40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28" y="70"/>
                  </a:lnTo>
                  <a:lnTo>
                    <a:pt x="0" y="0"/>
                  </a:lnTo>
                  <a:lnTo>
                    <a:pt x="114" y="0"/>
                  </a:lnTo>
                  <a:lnTo>
                    <a:pt x="86" y="70"/>
                  </a:lnTo>
                  <a:close/>
                  <a:moveTo>
                    <a:pt x="40" y="52"/>
                  </a:moveTo>
                  <a:lnTo>
                    <a:pt x="74" y="52"/>
                  </a:lnTo>
                  <a:lnTo>
                    <a:pt x="86" y="18"/>
                  </a:lnTo>
                  <a:lnTo>
                    <a:pt x="28" y="18"/>
                  </a:lnTo>
                  <a:lnTo>
                    <a:pt x="4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9" name="Rectangle 48">
              <a:extLst>
                <a:ext uri="{FF2B5EF4-FFF2-40B4-BE49-F238E27FC236}">
                  <a16:creationId xmlns:a16="http://schemas.microsoft.com/office/drawing/2014/main" id="{72942EC2-38AC-40AA-BE7F-B3EA4DDCBC2B}"/>
                </a:ext>
              </a:extLst>
            </p:cNvPr>
            <p:cNvSpPr>
              <a:spLocks noChangeArrowheads="1"/>
            </p:cNvSpPr>
            <p:nvPr/>
          </p:nvSpPr>
          <p:spPr bwMode="black">
            <a:xfrm>
              <a:off x="2661" y="2416"/>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0" name="Rectangle 49">
              <a:extLst>
                <a:ext uri="{FF2B5EF4-FFF2-40B4-BE49-F238E27FC236}">
                  <a16:creationId xmlns:a16="http://schemas.microsoft.com/office/drawing/2014/main" id="{D8F1BE3D-4239-4118-B4D5-B3F525E58173}"/>
                </a:ext>
              </a:extLst>
            </p:cNvPr>
            <p:cNvSpPr>
              <a:spLocks noChangeArrowheads="1"/>
            </p:cNvSpPr>
            <p:nvPr/>
          </p:nvSpPr>
          <p:spPr bwMode="black">
            <a:xfrm>
              <a:off x="2661" y="2466"/>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1" name="Rectangle 50">
              <a:extLst>
                <a:ext uri="{FF2B5EF4-FFF2-40B4-BE49-F238E27FC236}">
                  <a16:creationId xmlns:a16="http://schemas.microsoft.com/office/drawing/2014/main" id="{27D0EBFD-2FC3-4EC4-A4CF-6A2B856B5AE7}"/>
                </a:ext>
              </a:extLst>
            </p:cNvPr>
            <p:cNvSpPr>
              <a:spLocks noChangeArrowheads="1"/>
            </p:cNvSpPr>
            <p:nvPr/>
          </p:nvSpPr>
          <p:spPr bwMode="black">
            <a:xfrm>
              <a:off x="2661" y="2518"/>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2" name="Rectangle 51">
              <a:extLst>
                <a:ext uri="{FF2B5EF4-FFF2-40B4-BE49-F238E27FC236}">
                  <a16:creationId xmlns:a16="http://schemas.microsoft.com/office/drawing/2014/main" id="{7C85085B-EDE8-41FC-8687-BFA42F385351}"/>
                </a:ext>
              </a:extLst>
            </p:cNvPr>
            <p:cNvSpPr>
              <a:spLocks noChangeArrowheads="1"/>
            </p:cNvSpPr>
            <p:nvPr/>
          </p:nvSpPr>
          <p:spPr bwMode="black">
            <a:xfrm>
              <a:off x="2639" y="1790"/>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3" name="Rectangle 52">
              <a:extLst>
                <a:ext uri="{FF2B5EF4-FFF2-40B4-BE49-F238E27FC236}">
                  <a16:creationId xmlns:a16="http://schemas.microsoft.com/office/drawing/2014/main" id="{5763FD8F-B962-4A06-AB75-20FF104DC7B2}"/>
                </a:ext>
              </a:extLst>
            </p:cNvPr>
            <p:cNvSpPr>
              <a:spLocks noChangeArrowheads="1"/>
            </p:cNvSpPr>
            <p:nvPr/>
          </p:nvSpPr>
          <p:spPr bwMode="black">
            <a:xfrm>
              <a:off x="2523" y="1896"/>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4" name="Rectangle 53">
              <a:extLst>
                <a:ext uri="{FF2B5EF4-FFF2-40B4-BE49-F238E27FC236}">
                  <a16:creationId xmlns:a16="http://schemas.microsoft.com/office/drawing/2014/main" id="{CD16B18A-709C-469C-8F8C-54DFBA6E7B1E}"/>
                </a:ext>
              </a:extLst>
            </p:cNvPr>
            <p:cNvSpPr>
              <a:spLocks noChangeArrowheads="1"/>
            </p:cNvSpPr>
            <p:nvPr/>
          </p:nvSpPr>
          <p:spPr bwMode="black">
            <a:xfrm>
              <a:off x="2809" y="1742"/>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5" name="Rectangle 54">
              <a:extLst>
                <a:ext uri="{FF2B5EF4-FFF2-40B4-BE49-F238E27FC236}">
                  <a16:creationId xmlns:a16="http://schemas.microsoft.com/office/drawing/2014/main" id="{FA74B786-5E38-4E27-B8A6-182065F24F33}"/>
                </a:ext>
              </a:extLst>
            </p:cNvPr>
            <p:cNvSpPr>
              <a:spLocks noChangeArrowheads="1"/>
            </p:cNvSpPr>
            <p:nvPr/>
          </p:nvSpPr>
          <p:spPr bwMode="black">
            <a:xfrm>
              <a:off x="2979" y="1790"/>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6" name="Rectangle 55">
              <a:extLst>
                <a:ext uri="{FF2B5EF4-FFF2-40B4-BE49-F238E27FC236}">
                  <a16:creationId xmlns:a16="http://schemas.microsoft.com/office/drawing/2014/main" id="{F284454E-C2F7-432A-9AAE-F119A0680B6B}"/>
                </a:ext>
              </a:extLst>
            </p:cNvPr>
            <p:cNvSpPr>
              <a:spLocks noChangeArrowheads="1"/>
            </p:cNvSpPr>
            <p:nvPr/>
          </p:nvSpPr>
          <p:spPr bwMode="black">
            <a:xfrm>
              <a:off x="3085" y="1896"/>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7" name="Rectangle 56">
              <a:extLst>
                <a:ext uri="{FF2B5EF4-FFF2-40B4-BE49-F238E27FC236}">
                  <a16:creationId xmlns:a16="http://schemas.microsoft.com/office/drawing/2014/main" id="{49EB353F-EC63-4A52-A65A-E336342006C6}"/>
                </a:ext>
              </a:extLst>
            </p:cNvPr>
            <p:cNvSpPr>
              <a:spLocks noChangeArrowheads="1"/>
            </p:cNvSpPr>
            <p:nvPr/>
          </p:nvSpPr>
          <p:spPr bwMode="black">
            <a:xfrm>
              <a:off x="2523" y="2236"/>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8" name="Rectangle 57">
              <a:extLst>
                <a:ext uri="{FF2B5EF4-FFF2-40B4-BE49-F238E27FC236}">
                  <a16:creationId xmlns:a16="http://schemas.microsoft.com/office/drawing/2014/main" id="{CECCE7DF-BB79-4C1C-831A-28F68688CA47}"/>
                </a:ext>
              </a:extLst>
            </p:cNvPr>
            <p:cNvSpPr>
              <a:spLocks noChangeArrowheads="1"/>
            </p:cNvSpPr>
            <p:nvPr/>
          </p:nvSpPr>
          <p:spPr bwMode="black">
            <a:xfrm>
              <a:off x="3085" y="2236"/>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9" name="Rectangle 58">
              <a:extLst>
                <a:ext uri="{FF2B5EF4-FFF2-40B4-BE49-F238E27FC236}">
                  <a16:creationId xmlns:a16="http://schemas.microsoft.com/office/drawing/2014/main" id="{8835B6F0-A36E-4A3D-8C3E-D9112021767A}"/>
                </a:ext>
              </a:extLst>
            </p:cNvPr>
            <p:cNvSpPr>
              <a:spLocks noChangeArrowheads="1"/>
            </p:cNvSpPr>
            <p:nvPr/>
          </p:nvSpPr>
          <p:spPr bwMode="black">
            <a:xfrm>
              <a:off x="3133" y="2058"/>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0" name="Rectangle 59">
              <a:extLst>
                <a:ext uri="{FF2B5EF4-FFF2-40B4-BE49-F238E27FC236}">
                  <a16:creationId xmlns:a16="http://schemas.microsoft.com/office/drawing/2014/main" id="{59DE2063-861C-4969-B75A-454BBED97F5A}"/>
                </a:ext>
              </a:extLst>
            </p:cNvPr>
            <p:cNvSpPr>
              <a:spLocks noChangeArrowheads="1"/>
            </p:cNvSpPr>
            <p:nvPr/>
          </p:nvSpPr>
          <p:spPr bwMode="black">
            <a:xfrm>
              <a:off x="2487" y="2058"/>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1" name="Rectangle 60">
              <a:extLst>
                <a:ext uri="{FF2B5EF4-FFF2-40B4-BE49-F238E27FC236}">
                  <a16:creationId xmlns:a16="http://schemas.microsoft.com/office/drawing/2014/main" id="{75013039-9ABF-436C-9373-10FF210F998C}"/>
                </a:ext>
              </a:extLst>
            </p:cNvPr>
            <p:cNvSpPr>
              <a:spLocks noChangeArrowheads="1"/>
            </p:cNvSpPr>
            <p:nvPr/>
          </p:nvSpPr>
          <p:spPr bwMode="black">
            <a:xfrm>
              <a:off x="2779" y="2338"/>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2" name="Rectangle 61">
              <a:extLst>
                <a:ext uri="{FF2B5EF4-FFF2-40B4-BE49-F238E27FC236}">
                  <a16:creationId xmlns:a16="http://schemas.microsoft.com/office/drawing/2014/main" id="{B4A165A2-F311-472D-9762-C3E601C3BC23}"/>
                </a:ext>
              </a:extLst>
            </p:cNvPr>
            <p:cNvSpPr>
              <a:spLocks noChangeArrowheads="1"/>
            </p:cNvSpPr>
            <p:nvPr/>
          </p:nvSpPr>
          <p:spPr bwMode="black">
            <a:xfrm>
              <a:off x="2839" y="2338"/>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3" name="Freeform 29">
              <a:extLst>
                <a:ext uri="{FF2B5EF4-FFF2-40B4-BE49-F238E27FC236}">
                  <a16:creationId xmlns:a16="http://schemas.microsoft.com/office/drawing/2014/main" id="{7BF54887-482D-4E58-BFE3-8D187D0E1A88}"/>
                </a:ext>
              </a:extLst>
            </p:cNvPr>
            <p:cNvSpPr>
              <a:spLocks noEditPoints="1"/>
            </p:cNvSpPr>
            <p:nvPr/>
          </p:nvSpPr>
          <p:spPr bwMode="black">
            <a:xfrm>
              <a:off x="2607" y="1870"/>
              <a:ext cx="422" cy="420"/>
            </a:xfrm>
            <a:custGeom>
              <a:avLst/>
              <a:gdLst>
                <a:gd name="T0" fmla="*/ 172 w 422"/>
                <a:gd name="T1" fmla="*/ 372 h 420"/>
                <a:gd name="T2" fmla="*/ 124 w 422"/>
                <a:gd name="T3" fmla="*/ 352 h 420"/>
                <a:gd name="T4" fmla="*/ 68 w 422"/>
                <a:gd name="T5" fmla="*/ 298 h 420"/>
                <a:gd name="T6" fmla="*/ 48 w 422"/>
                <a:gd name="T7" fmla="*/ 248 h 420"/>
                <a:gd name="T8" fmla="*/ 48 w 422"/>
                <a:gd name="T9" fmla="*/ 170 h 420"/>
                <a:gd name="T10" fmla="*/ 68 w 422"/>
                <a:gd name="T11" fmla="*/ 122 h 420"/>
                <a:gd name="T12" fmla="*/ 124 w 422"/>
                <a:gd name="T13" fmla="*/ 68 h 420"/>
                <a:gd name="T14" fmla="*/ 172 w 422"/>
                <a:gd name="T15" fmla="*/ 48 h 420"/>
                <a:gd name="T16" fmla="*/ 250 w 422"/>
                <a:gd name="T17" fmla="*/ 48 h 420"/>
                <a:gd name="T18" fmla="*/ 298 w 422"/>
                <a:gd name="T19" fmla="*/ 68 h 420"/>
                <a:gd name="T20" fmla="*/ 354 w 422"/>
                <a:gd name="T21" fmla="*/ 122 h 420"/>
                <a:gd name="T22" fmla="*/ 374 w 422"/>
                <a:gd name="T23" fmla="*/ 170 h 420"/>
                <a:gd name="T24" fmla="*/ 374 w 422"/>
                <a:gd name="T25" fmla="*/ 248 h 420"/>
                <a:gd name="T26" fmla="*/ 354 w 422"/>
                <a:gd name="T27" fmla="*/ 298 h 420"/>
                <a:gd name="T28" fmla="*/ 298 w 422"/>
                <a:gd name="T29" fmla="*/ 352 h 420"/>
                <a:gd name="T30" fmla="*/ 250 w 422"/>
                <a:gd name="T31" fmla="*/ 372 h 420"/>
                <a:gd name="T32" fmla="*/ 232 w 422"/>
                <a:gd name="T33" fmla="*/ 402 h 420"/>
                <a:gd name="T34" fmla="*/ 240 w 422"/>
                <a:gd name="T35" fmla="*/ 356 h 420"/>
                <a:gd name="T36" fmla="*/ 282 w 422"/>
                <a:gd name="T37" fmla="*/ 340 h 420"/>
                <a:gd name="T38" fmla="*/ 332 w 422"/>
                <a:gd name="T39" fmla="*/ 360 h 420"/>
                <a:gd name="T40" fmla="*/ 334 w 422"/>
                <a:gd name="T41" fmla="*/ 294 h 420"/>
                <a:gd name="T42" fmla="*/ 348 w 422"/>
                <a:gd name="T43" fmla="*/ 266 h 420"/>
                <a:gd name="T44" fmla="*/ 358 w 422"/>
                <a:gd name="T45" fmla="*/ 230 h 420"/>
                <a:gd name="T46" fmla="*/ 358 w 422"/>
                <a:gd name="T47" fmla="*/ 188 h 420"/>
                <a:gd name="T48" fmla="*/ 354 w 422"/>
                <a:gd name="T49" fmla="*/ 166 h 420"/>
                <a:gd name="T50" fmla="*/ 334 w 422"/>
                <a:gd name="T51" fmla="*/ 126 h 420"/>
                <a:gd name="T52" fmla="*/ 332 w 422"/>
                <a:gd name="T53" fmla="*/ 60 h 420"/>
                <a:gd name="T54" fmla="*/ 294 w 422"/>
                <a:gd name="T55" fmla="*/ 86 h 420"/>
                <a:gd name="T56" fmla="*/ 254 w 422"/>
                <a:gd name="T57" fmla="*/ 68 h 420"/>
                <a:gd name="T58" fmla="*/ 232 w 422"/>
                <a:gd name="T59" fmla="*/ 18 h 420"/>
                <a:gd name="T60" fmla="*/ 182 w 422"/>
                <a:gd name="T61" fmla="*/ 64 h 420"/>
                <a:gd name="T62" fmla="*/ 154 w 422"/>
                <a:gd name="T63" fmla="*/ 72 h 420"/>
                <a:gd name="T64" fmla="*/ 122 w 422"/>
                <a:gd name="T65" fmla="*/ 90 h 420"/>
                <a:gd name="T66" fmla="*/ 92 w 422"/>
                <a:gd name="T67" fmla="*/ 120 h 420"/>
                <a:gd name="T68" fmla="*/ 80 w 422"/>
                <a:gd name="T69" fmla="*/ 140 h 420"/>
                <a:gd name="T70" fmla="*/ 64 w 422"/>
                <a:gd name="T71" fmla="*/ 182 h 420"/>
                <a:gd name="T72" fmla="*/ 18 w 422"/>
                <a:gd name="T73" fmla="*/ 230 h 420"/>
                <a:gd name="T74" fmla="*/ 64 w 422"/>
                <a:gd name="T75" fmla="*/ 238 h 420"/>
                <a:gd name="T76" fmla="*/ 80 w 422"/>
                <a:gd name="T77" fmla="*/ 280 h 420"/>
                <a:gd name="T78" fmla="*/ 60 w 422"/>
                <a:gd name="T79" fmla="*/ 330 h 420"/>
                <a:gd name="T80" fmla="*/ 128 w 422"/>
                <a:gd name="T81" fmla="*/ 332 h 420"/>
                <a:gd name="T82" fmla="*/ 154 w 422"/>
                <a:gd name="T83" fmla="*/ 348 h 420"/>
                <a:gd name="T84" fmla="*/ 190 w 422"/>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420">
                  <a:moveTo>
                    <a:pt x="250" y="420"/>
                  </a:moveTo>
                  <a:lnTo>
                    <a:pt x="172" y="420"/>
                  </a:lnTo>
                  <a:lnTo>
                    <a:pt x="172" y="372"/>
                  </a:lnTo>
                  <a:lnTo>
                    <a:pt x="172" y="372"/>
                  </a:lnTo>
                  <a:lnTo>
                    <a:pt x="148" y="364"/>
                  </a:lnTo>
                  <a:lnTo>
                    <a:pt x="124" y="352"/>
                  </a:lnTo>
                  <a:lnTo>
                    <a:pt x="90"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90" y="34"/>
                  </a:lnTo>
                  <a:lnTo>
                    <a:pt x="124" y="68"/>
                  </a:lnTo>
                  <a:lnTo>
                    <a:pt x="124" y="68"/>
                  </a:lnTo>
                  <a:lnTo>
                    <a:pt x="148" y="56"/>
                  </a:lnTo>
                  <a:lnTo>
                    <a:pt x="172" y="48"/>
                  </a:lnTo>
                  <a:lnTo>
                    <a:pt x="172" y="0"/>
                  </a:lnTo>
                  <a:lnTo>
                    <a:pt x="250" y="0"/>
                  </a:lnTo>
                  <a:lnTo>
                    <a:pt x="250" y="48"/>
                  </a:lnTo>
                  <a:lnTo>
                    <a:pt x="250" y="48"/>
                  </a:lnTo>
                  <a:lnTo>
                    <a:pt x="274" y="56"/>
                  </a:lnTo>
                  <a:lnTo>
                    <a:pt x="298" y="68"/>
                  </a:lnTo>
                  <a:lnTo>
                    <a:pt x="332" y="34"/>
                  </a:lnTo>
                  <a:lnTo>
                    <a:pt x="388" y="88"/>
                  </a:lnTo>
                  <a:lnTo>
                    <a:pt x="354" y="122"/>
                  </a:lnTo>
                  <a:lnTo>
                    <a:pt x="354" y="122"/>
                  </a:lnTo>
                  <a:lnTo>
                    <a:pt x="366" y="146"/>
                  </a:lnTo>
                  <a:lnTo>
                    <a:pt x="374" y="170"/>
                  </a:lnTo>
                  <a:lnTo>
                    <a:pt x="422" y="170"/>
                  </a:lnTo>
                  <a:lnTo>
                    <a:pt x="422" y="248"/>
                  </a:lnTo>
                  <a:lnTo>
                    <a:pt x="374" y="248"/>
                  </a:lnTo>
                  <a:lnTo>
                    <a:pt x="374" y="248"/>
                  </a:lnTo>
                  <a:lnTo>
                    <a:pt x="366" y="274"/>
                  </a:lnTo>
                  <a:lnTo>
                    <a:pt x="354" y="298"/>
                  </a:lnTo>
                  <a:lnTo>
                    <a:pt x="388" y="330"/>
                  </a:lnTo>
                  <a:lnTo>
                    <a:pt x="332" y="386"/>
                  </a:lnTo>
                  <a:lnTo>
                    <a:pt x="298" y="352"/>
                  </a:lnTo>
                  <a:lnTo>
                    <a:pt x="298" y="352"/>
                  </a:lnTo>
                  <a:lnTo>
                    <a:pt x="274" y="364"/>
                  </a:lnTo>
                  <a:lnTo>
                    <a:pt x="250" y="372"/>
                  </a:lnTo>
                  <a:lnTo>
                    <a:pt x="250" y="420"/>
                  </a:lnTo>
                  <a:close/>
                  <a:moveTo>
                    <a:pt x="190" y="402"/>
                  </a:moveTo>
                  <a:lnTo>
                    <a:pt x="232" y="402"/>
                  </a:lnTo>
                  <a:lnTo>
                    <a:pt x="232" y="358"/>
                  </a:lnTo>
                  <a:lnTo>
                    <a:pt x="240" y="356"/>
                  </a:lnTo>
                  <a:lnTo>
                    <a:pt x="240" y="356"/>
                  </a:lnTo>
                  <a:lnTo>
                    <a:pt x="254" y="352"/>
                  </a:lnTo>
                  <a:lnTo>
                    <a:pt x="268" y="348"/>
                  </a:lnTo>
                  <a:lnTo>
                    <a:pt x="282" y="340"/>
                  </a:lnTo>
                  <a:lnTo>
                    <a:pt x="294" y="332"/>
                  </a:lnTo>
                  <a:lnTo>
                    <a:pt x="300" y="328"/>
                  </a:lnTo>
                  <a:lnTo>
                    <a:pt x="332" y="360"/>
                  </a:lnTo>
                  <a:lnTo>
                    <a:pt x="362" y="330"/>
                  </a:lnTo>
                  <a:lnTo>
                    <a:pt x="330" y="300"/>
                  </a:lnTo>
                  <a:lnTo>
                    <a:pt x="334" y="294"/>
                  </a:lnTo>
                  <a:lnTo>
                    <a:pt x="334" y="294"/>
                  </a:lnTo>
                  <a:lnTo>
                    <a:pt x="342" y="280"/>
                  </a:lnTo>
                  <a:lnTo>
                    <a:pt x="348" y="266"/>
                  </a:lnTo>
                  <a:lnTo>
                    <a:pt x="354" y="252"/>
                  </a:lnTo>
                  <a:lnTo>
                    <a:pt x="358" y="238"/>
                  </a:lnTo>
                  <a:lnTo>
                    <a:pt x="358" y="230"/>
                  </a:lnTo>
                  <a:lnTo>
                    <a:pt x="404" y="230"/>
                  </a:lnTo>
                  <a:lnTo>
                    <a:pt x="404" y="188"/>
                  </a:lnTo>
                  <a:lnTo>
                    <a:pt x="358" y="188"/>
                  </a:lnTo>
                  <a:lnTo>
                    <a:pt x="358" y="182"/>
                  </a:lnTo>
                  <a:lnTo>
                    <a:pt x="358" y="182"/>
                  </a:lnTo>
                  <a:lnTo>
                    <a:pt x="354" y="166"/>
                  </a:lnTo>
                  <a:lnTo>
                    <a:pt x="348" y="152"/>
                  </a:lnTo>
                  <a:lnTo>
                    <a:pt x="342" y="140"/>
                  </a:lnTo>
                  <a:lnTo>
                    <a:pt x="334" y="126"/>
                  </a:lnTo>
                  <a:lnTo>
                    <a:pt x="330" y="120"/>
                  </a:lnTo>
                  <a:lnTo>
                    <a:pt x="362" y="88"/>
                  </a:lnTo>
                  <a:lnTo>
                    <a:pt x="332" y="60"/>
                  </a:lnTo>
                  <a:lnTo>
                    <a:pt x="300" y="90"/>
                  </a:lnTo>
                  <a:lnTo>
                    <a:pt x="294" y="86"/>
                  </a:lnTo>
                  <a:lnTo>
                    <a:pt x="294" y="86"/>
                  </a:lnTo>
                  <a:lnTo>
                    <a:pt x="282" y="78"/>
                  </a:lnTo>
                  <a:lnTo>
                    <a:pt x="268" y="72"/>
                  </a:lnTo>
                  <a:lnTo>
                    <a:pt x="254" y="68"/>
                  </a:lnTo>
                  <a:lnTo>
                    <a:pt x="240" y="64"/>
                  </a:lnTo>
                  <a:lnTo>
                    <a:pt x="232" y="62"/>
                  </a:lnTo>
                  <a:lnTo>
                    <a:pt x="232" y="18"/>
                  </a:lnTo>
                  <a:lnTo>
                    <a:pt x="190" y="18"/>
                  </a:lnTo>
                  <a:lnTo>
                    <a:pt x="190" y="62"/>
                  </a:lnTo>
                  <a:lnTo>
                    <a:pt x="182" y="64"/>
                  </a:lnTo>
                  <a:lnTo>
                    <a:pt x="182" y="64"/>
                  </a:lnTo>
                  <a:lnTo>
                    <a:pt x="168" y="68"/>
                  </a:lnTo>
                  <a:lnTo>
                    <a:pt x="154" y="72"/>
                  </a:lnTo>
                  <a:lnTo>
                    <a:pt x="140" y="78"/>
                  </a:lnTo>
                  <a:lnTo>
                    <a:pt x="128" y="86"/>
                  </a:lnTo>
                  <a:lnTo>
                    <a:pt x="122" y="90"/>
                  </a:lnTo>
                  <a:lnTo>
                    <a:pt x="90" y="60"/>
                  </a:lnTo>
                  <a:lnTo>
                    <a:pt x="60" y="88"/>
                  </a:lnTo>
                  <a:lnTo>
                    <a:pt x="92" y="120"/>
                  </a:lnTo>
                  <a:lnTo>
                    <a:pt x="88" y="126"/>
                  </a:lnTo>
                  <a:lnTo>
                    <a:pt x="88" y="126"/>
                  </a:lnTo>
                  <a:lnTo>
                    <a:pt x="80" y="140"/>
                  </a:lnTo>
                  <a:lnTo>
                    <a:pt x="74" y="152"/>
                  </a:lnTo>
                  <a:lnTo>
                    <a:pt x="68" y="166"/>
                  </a:lnTo>
                  <a:lnTo>
                    <a:pt x="64" y="182"/>
                  </a:lnTo>
                  <a:lnTo>
                    <a:pt x="64" y="188"/>
                  </a:lnTo>
                  <a:lnTo>
                    <a:pt x="18" y="188"/>
                  </a:lnTo>
                  <a:lnTo>
                    <a:pt x="18" y="230"/>
                  </a:lnTo>
                  <a:lnTo>
                    <a:pt x="64" y="230"/>
                  </a:lnTo>
                  <a:lnTo>
                    <a:pt x="64" y="238"/>
                  </a:lnTo>
                  <a:lnTo>
                    <a:pt x="64" y="238"/>
                  </a:lnTo>
                  <a:lnTo>
                    <a:pt x="68" y="252"/>
                  </a:lnTo>
                  <a:lnTo>
                    <a:pt x="74" y="266"/>
                  </a:lnTo>
                  <a:lnTo>
                    <a:pt x="80" y="280"/>
                  </a:lnTo>
                  <a:lnTo>
                    <a:pt x="88" y="294"/>
                  </a:lnTo>
                  <a:lnTo>
                    <a:pt x="92" y="300"/>
                  </a:lnTo>
                  <a:lnTo>
                    <a:pt x="60" y="330"/>
                  </a:lnTo>
                  <a:lnTo>
                    <a:pt x="90" y="360"/>
                  </a:lnTo>
                  <a:lnTo>
                    <a:pt x="122" y="328"/>
                  </a:lnTo>
                  <a:lnTo>
                    <a:pt x="128" y="332"/>
                  </a:lnTo>
                  <a:lnTo>
                    <a:pt x="128" y="332"/>
                  </a:lnTo>
                  <a:lnTo>
                    <a:pt x="140" y="340"/>
                  </a:lnTo>
                  <a:lnTo>
                    <a:pt x="154" y="348"/>
                  </a:lnTo>
                  <a:lnTo>
                    <a:pt x="168" y="352"/>
                  </a:lnTo>
                  <a:lnTo>
                    <a:pt x="182" y="356"/>
                  </a:lnTo>
                  <a:lnTo>
                    <a:pt x="190" y="358"/>
                  </a:lnTo>
                  <a:lnTo>
                    <a:pt x="19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4" name="Freeform 30">
              <a:extLst>
                <a:ext uri="{FF2B5EF4-FFF2-40B4-BE49-F238E27FC236}">
                  <a16:creationId xmlns:a16="http://schemas.microsoft.com/office/drawing/2014/main" id="{75E827D4-0F74-48DD-96FF-D3BC5D11CA73}"/>
                </a:ext>
              </a:extLst>
            </p:cNvPr>
            <p:cNvSpPr>
              <a:spLocks noEditPoints="1"/>
            </p:cNvSpPr>
            <p:nvPr/>
          </p:nvSpPr>
          <p:spPr bwMode="black">
            <a:xfrm>
              <a:off x="2707" y="1968"/>
              <a:ext cx="222" cy="224"/>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18 w 222"/>
                <a:gd name="T13" fmla="*/ 50 h 224"/>
                <a:gd name="T14" fmla="*/ 48 w 222"/>
                <a:gd name="T15" fmla="*/ 20 h 224"/>
                <a:gd name="T16" fmla="*/ 88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4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58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2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88" y="220"/>
                  </a:lnTo>
                  <a:lnTo>
                    <a:pt x="68" y="214"/>
                  </a:lnTo>
                  <a:lnTo>
                    <a:pt x="48" y="204"/>
                  </a:lnTo>
                  <a:lnTo>
                    <a:pt x="32" y="190"/>
                  </a:lnTo>
                  <a:lnTo>
                    <a:pt x="18" y="174"/>
                  </a:lnTo>
                  <a:lnTo>
                    <a:pt x="8" y="156"/>
                  </a:lnTo>
                  <a:lnTo>
                    <a:pt x="2" y="134"/>
                  </a:lnTo>
                  <a:lnTo>
                    <a:pt x="0" y="112"/>
                  </a:lnTo>
                  <a:lnTo>
                    <a:pt x="0" y="112"/>
                  </a:lnTo>
                  <a:lnTo>
                    <a:pt x="2" y="90"/>
                  </a:lnTo>
                  <a:lnTo>
                    <a:pt x="8" y="68"/>
                  </a:lnTo>
                  <a:lnTo>
                    <a:pt x="18" y="50"/>
                  </a:lnTo>
                  <a:lnTo>
                    <a:pt x="32" y="34"/>
                  </a:lnTo>
                  <a:lnTo>
                    <a:pt x="48" y="20"/>
                  </a:lnTo>
                  <a:lnTo>
                    <a:pt x="68" y="10"/>
                  </a:lnTo>
                  <a:lnTo>
                    <a:pt x="88"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4" y="26"/>
                  </a:lnTo>
                  <a:lnTo>
                    <a:pt x="58" y="34"/>
                  </a:lnTo>
                  <a:lnTo>
                    <a:pt x="46" y="46"/>
                  </a:lnTo>
                  <a:lnTo>
                    <a:pt x="34" y="60"/>
                  </a:lnTo>
                  <a:lnTo>
                    <a:pt x="26" y="76"/>
                  </a:lnTo>
                  <a:lnTo>
                    <a:pt x="20" y="92"/>
                  </a:lnTo>
                  <a:lnTo>
                    <a:pt x="18" y="112"/>
                  </a:lnTo>
                  <a:lnTo>
                    <a:pt x="18" y="112"/>
                  </a:lnTo>
                  <a:lnTo>
                    <a:pt x="20" y="130"/>
                  </a:lnTo>
                  <a:lnTo>
                    <a:pt x="26" y="148"/>
                  </a:lnTo>
                  <a:lnTo>
                    <a:pt x="34" y="164"/>
                  </a:lnTo>
                  <a:lnTo>
                    <a:pt x="46" y="178"/>
                  </a:lnTo>
                  <a:lnTo>
                    <a:pt x="58" y="190"/>
                  </a:lnTo>
                  <a:lnTo>
                    <a:pt x="74" y="198"/>
                  </a:lnTo>
                  <a:lnTo>
                    <a:pt x="92" y="204"/>
                  </a:lnTo>
                  <a:lnTo>
                    <a:pt x="112" y="206"/>
                  </a:lnTo>
                  <a:lnTo>
                    <a:pt x="112" y="206"/>
                  </a:lnTo>
                  <a:lnTo>
                    <a:pt x="130" y="204"/>
                  </a:lnTo>
                  <a:lnTo>
                    <a:pt x="148" y="198"/>
                  </a:lnTo>
                  <a:lnTo>
                    <a:pt x="164" y="190"/>
                  </a:lnTo>
                  <a:lnTo>
                    <a:pt x="178" y="178"/>
                  </a:lnTo>
                  <a:lnTo>
                    <a:pt x="188" y="164"/>
                  </a:lnTo>
                  <a:lnTo>
                    <a:pt x="198" y="148"/>
                  </a:lnTo>
                  <a:lnTo>
                    <a:pt x="202" y="130"/>
                  </a:lnTo>
                  <a:lnTo>
                    <a:pt x="204" y="112"/>
                  </a:lnTo>
                  <a:lnTo>
                    <a:pt x="204" y="112"/>
                  </a:lnTo>
                  <a:lnTo>
                    <a:pt x="202" y="92"/>
                  </a:lnTo>
                  <a:lnTo>
                    <a:pt x="198" y="76"/>
                  </a:lnTo>
                  <a:lnTo>
                    <a:pt x="188" y="60"/>
                  </a:lnTo>
                  <a:lnTo>
                    <a:pt x="178" y="46"/>
                  </a:lnTo>
                  <a:lnTo>
                    <a:pt x="164" y="34"/>
                  </a:lnTo>
                  <a:lnTo>
                    <a:pt x="148" y="26"/>
                  </a:lnTo>
                  <a:lnTo>
                    <a:pt x="130" y="20"/>
                  </a:lnTo>
                  <a:lnTo>
                    <a:pt x="112" y="18"/>
                  </a:lnTo>
                  <a:lnTo>
                    <a:pt x="11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grpSp>
      <p:pic>
        <p:nvPicPr>
          <p:cNvPr id="97" name="Graphic 96" descr="Dollar with solid fill">
            <a:extLst>
              <a:ext uri="{FF2B5EF4-FFF2-40B4-BE49-F238E27FC236}">
                <a16:creationId xmlns:a16="http://schemas.microsoft.com/office/drawing/2014/main" id="{1336F4AC-D6F7-4A10-ACAE-FB586BB282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57081" y="4932874"/>
            <a:ext cx="602617" cy="602617"/>
          </a:xfrm>
          <a:prstGeom prst="rect">
            <a:avLst/>
          </a:prstGeom>
        </p:spPr>
      </p:pic>
      <p:pic>
        <p:nvPicPr>
          <p:cNvPr id="99" name="Graphic 98" descr="Bullseye with solid fill">
            <a:extLst>
              <a:ext uri="{FF2B5EF4-FFF2-40B4-BE49-F238E27FC236}">
                <a16:creationId xmlns:a16="http://schemas.microsoft.com/office/drawing/2014/main" id="{C80C8CB7-EAE8-45DD-82C5-42D54A9238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33453" y="4888667"/>
            <a:ext cx="639591" cy="639591"/>
          </a:xfrm>
          <a:prstGeom prst="rect">
            <a:avLst/>
          </a:prstGeom>
        </p:spPr>
      </p:pic>
      <p:pic>
        <p:nvPicPr>
          <p:cNvPr id="101" name="Graphic 100" descr="Presentation with bar chart with solid fill">
            <a:extLst>
              <a:ext uri="{FF2B5EF4-FFF2-40B4-BE49-F238E27FC236}">
                <a16:creationId xmlns:a16="http://schemas.microsoft.com/office/drawing/2014/main" id="{88E5B2CF-4BEA-4DF3-BB32-69CC884F7B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13609" y="4906467"/>
            <a:ext cx="668999" cy="668999"/>
          </a:xfrm>
          <a:prstGeom prst="rect">
            <a:avLst/>
          </a:prstGeom>
        </p:spPr>
      </p:pic>
    </p:spTree>
    <p:extLst>
      <p:ext uri="{BB962C8B-B14F-4D97-AF65-F5344CB8AC3E}">
        <p14:creationId xmlns:p14="http://schemas.microsoft.com/office/powerpoint/2010/main" val="4039488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B1BDFC-B4FB-4C20-9F17-C68A9292ED8B}"/>
              </a:ext>
            </a:extLst>
          </p:cNvPr>
          <p:cNvGraphicFramePr>
            <a:graphicFrameLocks noChangeAspect="1"/>
          </p:cNvGraphicFramePr>
          <p:nvPr>
            <p:custDataLst>
              <p:tags r:id="rId1"/>
            </p:custDataLst>
            <p:extLst>
              <p:ext uri="{D42A27DB-BD31-4B8C-83A1-F6EECF244321}">
                <p14:modId xmlns:p14="http://schemas.microsoft.com/office/powerpoint/2010/main" val="1937339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E4B1BDFC-B4FB-4C20-9F17-C68A9292ED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73E5B38-6C92-4AD8-9223-60AF6F053C1B}"/>
              </a:ext>
            </a:extLst>
          </p:cNvPr>
          <p:cNvSpPr>
            <a:spLocks noGrp="1"/>
          </p:cNvSpPr>
          <p:nvPr>
            <p:ph type="body" sz="quarter" idx="12"/>
          </p:nvPr>
        </p:nvSpPr>
        <p:spPr/>
        <p:txBody>
          <a:bodyPr/>
          <a:lstStyle/>
          <a:p>
            <a:endParaRPr lang="en-US" dirty="0">
              <a:latin typeface="EYInterstate Light" panose="02000506000000020004" pitchFamily="2" charset="0"/>
              <a:sym typeface="EYInterstate Light" panose="02000506000000020004" pitchFamily="2" charset="0"/>
            </a:endParaRPr>
          </a:p>
        </p:txBody>
      </p:sp>
      <p:sp>
        <p:nvSpPr>
          <p:cNvPr id="3" name="Text Placeholder 2">
            <a:extLst>
              <a:ext uri="{FF2B5EF4-FFF2-40B4-BE49-F238E27FC236}">
                <a16:creationId xmlns:a16="http://schemas.microsoft.com/office/drawing/2014/main" id="{1DAAA66E-E6D6-4953-B783-E7922842512E}"/>
              </a:ext>
            </a:extLst>
          </p:cNvPr>
          <p:cNvSpPr>
            <a:spLocks noGrp="1"/>
          </p:cNvSpPr>
          <p:nvPr>
            <p:ph type="body" sz="quarter" idx="11"/>
          </p:nvPr>
        </p:nvSpPr>
        <p:spPr/>
        <p:txBody>
          <a:bodyPr/>
          <a:lstStyle/>
          <a:p>
            <a:endParaRPr lang="en-US" dirty="0">
              <a:latin typeface="EYInterstate Light" panose="02000506000000020004" pitchFamily="2" charset="0"/>
              <a:sym typeface="EYInterstate Light" panose="02000506000000020004" pitchFamily="2" charset="0"/>
            </a:endParaRPr>
          </a:p>
        </p:txBody>
      </p:sp>
      <p:sp>
        <p:nvSpPr>
          <p:cNvPr id="2" name="Text Placeholder 1">
            <a:extLst>
              <a:ext uri="{FF2B5EF4-FFF2-40B4-BE49-F238E27FC236}">
                <a16:creationId xmlns:a16="http://schemas.microsoft.com/office/drawing/2014/main" id="{82F26488-24A5-4B2B-A6BA-2B0419517FB7}"/>
              </a:ext>
            </a:extLst>
          </p:cNvPr>
          <p:cNvSpPr>
            <a:spLocks noGrp="1"/>
          </p:cNvSpPr>
          <p:nvPr>
            <p:ph type="body" sz="quarter" idx="10"/>
          </p:nvPr>
        </p:nvSpPr>
        <p:spPr/>
        <p:txBody>
          <a:bodyPr/>
          <a:lstStyle/>
          <a:p>
            <a:endParaRPr lang="en-US" dirty="0">
              <a:latin typeface="EYInterstate Light" panose="02000506000000020004" pitchFamily="2" charset="0"/>
              <a:sym typeface="EYInterstate Light" panose="02000506000000020004" pitchFamily="2" charset="0"/>
            </a:endParaRPr>
          </a:p>
        </p:txBody>
      </p:sp>
    </p:spTree>
    <p:extLst>
      <p:ext uri="{BB962C8B-B14F-4D97-AF65-F5344CB8AC3E}">
        <p14:creationId xmlns:p14="http://schemas.microsoft.com/office/powerpoint/2010/main" val="30389155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C09F1A3-759F-4DAF-BB11-CCF966185F4A}"/>
              </a:ext>
            </a:extLst>
          </p:cNvPr>
          <p:cNvGraphicFramePr>
            <a:graphicFrameLocks noChangeAspect="1"/>
          </p:cNvGraphicFramePr>
          <p:nvPr>
            <p:custDataLst>
              <p:tags r:id="rId1"/>
            </p:custDataLst>
            <p:extLst>
              <p:ext uri="{D42A27DB-BD31-4B8C-83A1-F6EECF244321}">
                <p14:modId xmlns:p14="http://schemas.microsoft.com/office/powerpoint/2010/main" val="237871763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15" name="Object 14" hidden="1">
                        <a:extLst>
                          <a:ext uri="{FF2B5EF4-FFF2-40B4-BE49-F238E27FC236}">
                            <a16:creationId xmlns:a16="http://schemas.microsoft.com/office/drawing/2014/main" id="{EC09F1A3-759F-4DAF-BB11-CCF966185F4A}"/>
                          </a:ext>
                        </a:extLst>
                      </p:cNvPr>
                      <p:cNvPicPr/>
                      <p:nvPr/>
                    </p:nvPicPr>
                    <p:blipFill>
                      <a:blip r:embed="rId22"/>
                      <a:stretch>
                        <a:fillRect/>
                      </a:stretch>
                    </p:blipFill>
                    <p:spPr>
                      <a:xfrm>
                        <a:off x="-1587"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542B52-395D-44F2-B432-F769FC2834A7}"/>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D8469D94-9C48-43CF-AAE1-DBF0D2BF4F69}"/>
              </a:ext>
            </a:extLst>
          </p:cNvPr>
          <p:cNvSpPr>
            <a:spLocks noGrp="1"/>
          </p:cNvSpPr>
          <p:nvPr>
            <p:ph type="title"/>
          </p:nvPr>
        </p:nvSpPr>
        <p:spPr/>
        <p:txBody>
          <a:bodyPr vert="horz"/>
          <a:lstStyle/>
          <a:p>
            <a:r>
              <a:rPr lang="en-US" dirty="0">
                <a:latin typeface="EYInterstate Light" panose="02000506000000020004" pitchFamily="2" charset="0"/>
                <a:sym typeface="EYInterstate Light" panose="02000506000000020004" pitchFamily="2" charset="0"/>
              </a:rPr>
              <a:t>Chart sample (Think-cell charts) advanced user palette</a:t>
            </a:r>
          </a:p>
        </p:txBody>
      </p:sp>
      <p:sp>
        <p:nvSpPr>
          <p:cNvPr id="16" name="Text Placeholder 15">
            <a:extLst>
              <a:ext uri="{FF2B5EF4-FFF2-40B4-BE49-F238E27FC236}">
                <a16:creationId xmlns:a16="http://schemas.microsoft.com/office/drawing/2014/main" id="{8E211436-0498-45EF-B7FF-F1FBCA88648F}"/>
              </a:ext>
            </a:extLst>
          </p:cNvPr>
          <p:cNvSpPr>
            <a:spLocks noGrp="1"/>
          </p:cNvSpPr>
          <p:nvPr>
            <p:ph type="body" sz="quarter" idx="12"/>
          </p:nvPr>
        </p:nvSpPr>
        <p:spPr>
          <a:xfrm>
            <a:off x="612648" y="80267"/>
            <a:ext cx="5495942" cy="184666"/>
          </a:xfrm>
        </p:spPr>
        <p:txBody>
          <a:bodyPr/>
          <a:lstStyle/>
          <a:p>
            <a:endParaRPr lang="en-US">
              <a:latin typeface="EYInterstate Light" panose="02000506000000020004" pitchFamily="2" charset="0"/>
              <a:sym typeface="EYInterstate Light" panose="02000506000000020004" pitchFamily="2" charset="0"/>
            </a:endParaRPr>
          </a:p>
        </p:txBody>
      </p:sp>
      <p:sp>
        <p:nvSpPr>
          <p:cNvPr id="14" name="Text Placeholder 13">
            <a:extLst>
              <a:ext uri="{FF2B5EF4-FFF2-40B4-BE49-F238E27FC236}">
                <a16:creationId xmlns:a16="http://schemas.microsoft.com/office/drawing/2014/main" id="{117B53B3-FE22-40BC-9105-E7B55479B6EC}"/>
              </a:ext>
            </a:extLst>
          </p:cNvPr>
          <p:cNvSpPr>
            <a:spLocks noGrp="1"/>
          </p:cNvSpPr>
          <p:nvPr>
            <p:ph type="body" sz="quarter" idx="11"/>
          </p:nvPr>
        </p:nvSpPr>
        <p:spPr/>
        <p:txBody>
          <a:bodyPr/>
          <a:lstStyle/>
          <a:p>
            <a:endParaRPr lang="en-US" sz="800">
              <a:latin typeface="EYInterstate Light" panose="02000506000000020004" pitchFamily="2" charset="0"/>
              <a:sym typeface="EYInterstate Light" panose="02000506000000020004" pitchFamily="2" charset="0"/>
            </a:endParaRPr>
          </a:p>
        </p:txBody>
      </p:sp>
      <p:sp>
        <p:nvSpPr>
          <p:cNvPr id="17" name="Text Placeholder 16">
            <a:extLst>
              <a:ext uri="{FF2B5EF4-FFF2-40B4-BE49-F238E27FC236}">
                <a16:creationId xmlns:a16="http://schemas.microsoft.com/office/drawing/2014/main" id="{53B50BF0-0A43-489F-BA8A-34D306DB0729}"/>
              </a:ext>
            </a:extLst>
          </p:cNvPr>
          <p:cNvSpPr>
            <a:spLocks noGrp="1"/>
          </p:cNvSpPr>
          <p:nvPr>
            <p:ph type="body" sz="quarter" idx="13"/>
          </p:nvPr>
        </p:nvSpPr>
        <p:spPr/>
        <p:txBody>
          <a:bodyPr/>
          <a:lstStyle/>
          <a:p>
            <a:endParaRPr lang="en-US">
              <a:latin typeface="EYInterstate Light" panose="02000506000000020004" pitchFamily="2" charset="0"/>
              <a:sym typeface="EYInterstate Light" panose="02000506000000020004" pitchFamily="2" charset="0"/>
            </a:endParaRPr>
          </a:p>
        </p:txBody>
      </p:sp>
      <p:sp>
        <p:nvSpPr>
          <p:cNvPr id="18" name="Text Placeholder 17">
            <a:extLst>
              <a:ext uri="{FF2B5EF4-FFF2-40B4-BE49-F238E27FC236}">
                <a16:creationId xmlns:a16="http://schemas.microsoft.com/office/drawing/2014/main" id="{B68E3B81-EA01-4AAB-AB96-FC3AA0333DF8}"/>
              </a:ext>
            </a:extLst>
          </p:cNvPr>
          <p:cNvSpPr>
            <a:spLocks noGrp="1"/>
          </p:cNvSpPr>
          <p:nvPr>
            <p:ph type="body" sz="quarter" idx="14"/>
          </p:nvPr>
        </p:nvSpPr>
        <p:spPr/>
        <p:txBody>
          <a:bodyPr/>
          <a:lstStyle/>
          <a:p>
            <a:endParaRPr lang="en-US">
              <a:latin typeface="EYInterstate Light" panose="02000506000000020004" pitchFamily="2" charset="0"/>
              <a:sym typeface="EYInterstate Light" panose="02000506000000020004" pitchFamily="2" charset="0"/>
            </a:endParaRPr>
          </a:p>
        </p:txBody>
      </p:sp>
      <p:graphicFrame>
        <p:nvGraphicFramePr>
          <p:cNvPr id="28" name="Chart 27">
            <a:extLst>
              <a:ext uri="{FF2B5EF4-FFF2-40B4-BE49-F238E27FC236}">
                <a16:creationId xmlns:a16="http://schemas.microsoft.com/office/drawing/2014/main" id="{F9E684A8-C8A1-4714-B164-23C902056E47}"/>
              </a:ext>
            </a:extLst>
          </p:cNvPr>
          <p:cNvGraphicFramePr/>
          <p:nvPr>
            <p:custDataLst>
              <p:tags r:id="rId3"/>
            </p:custDataLst>
            <p:extLst>
              <p:ext uri="{D42A27DB-BD31-4B8C-83A1-F6EECF244321}">
                <p14:modId xmlns:p14="http://schemas.microsoft.com/office/powerpoint/2010/main" val="2846325616"/>
              </p:ext>
            </p:extLst>
          </p:nvPr>
        </p:nvGraphicFramePr>
        <p:xfrm>
          <a:off x="917575" y="1874838"/>
          <a:ext cx="9872663" cy="3784600"/>
        </p:xfrm>
        <a:graphic>
          <a:graphicData uri="http://schemas.openxmlformats.org/drawingml/2006/chart">
            <c:chart xmlns:c="http://schemas.openxmlformats.org/drawingml/2006/chart" xmlns:r="http://schemas.openxmlformats.org/officeDocument/2006/relationships" r:id="rId23"/>
          </a:graphicData>
        </a:graphic>
      </p:graphicFrame>
      <p:sp>
        <p:nvSpPr>
          <p:cNvPr id="34" name="Text Placeholder 2">
            <a:extLst>
              <a:ext uri="{FF2B5EF4-FFF2-40B4-BE49-F238E27FC236}">
                <a16:creationId xmlns:a16="http://schemas.microsoft.com/office/drawing/2014/main" id="{A9797CB1-E160-4184-B59E-6BFE5DAA8C6E}"/>
              </a:ext>
            </a:extLst>
          </p:cNvPr>
          <p:cNvSpPr>
            <a:spLocks noGrp="1"/>
          </p:cNvSpPr>
          <p:nvPr>
            <p:custDataLst>
              <p:tags r:id="rId4"/>
            </p:custDataLst>
          </p:nvPr>
        </p:nvSpPr>
        <p:spPr bwMode="gray">
          <a:xfrm>
            <a:off x="5727699" y="4024313"/>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D80C233-867B-4BF9-BDB6-8449E3C374B7}"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7" name="Text Placeholder 2">
            <a:extLst>
              <a:ext uri="{FF2B5EF4-FFF2-40B4-BE49-F238E27FC236}">
                <a16:creationId xmlns:a16="http://schemas.microsoft.com/office/drawing/2014/main" id="{72A4C63A-5236-4BD2-99CB-DF54881C8C09}"/>
              </a:ext>
            </a:extLst>
          </p:cNvPr>
          <p:cNvSpPr>
            <a:spLocks noGrp="1"/>
          </p:cNvSpPr>
          <p:nvPr>
            <p:custDataLst>
              <p:tags r:id="rId5"/>
            </p:custDataLst>
          </p:nvPr>
        </p:nvSpPr>
        <p:spPr bwMode="gray">
          <a:xfrm>
            <a:off x="5727699" y="4938713"/>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4AABD6C-6460-407D-809D-9D62AC9A48BF}"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0" name="Text Placeholder 2">
            <a:extLst>
              <a:ext uri="{FF2B5EF4-FFF2-40B4-BE49-F238E27FC236}">
                <a16:creationId xmlns:a16="http://schemas.microsoft.com/office/drawing/2014/main" id="{5C5D1D13-CE6A-4531-B979-75A79E599DF1}"/>
              </a:ext>
            </a:extLst>
          </p:cNvPr>
          <p:cNvSpPr>
            <a:spLocks noGrp="1"/>
          </p:cNvSpPr>
          <p:nvPr>
            <p:custDataLst>
              <p:tags r:id="rId6"/>
            </p:custDataLst>
          </p:nvPr>
        </p:nvSpPr>
        <p:spPr bwMode="gray">
          <a:xfrm>
            <a:off x="8847137" y="3402013"/>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0ECDCB7-61D1-4F86-B542-35FB8DE1D6B1}"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 name="Text Placeholder 2">
            <a:extLst>
              <a:ext uri="{FF2B5EF4-FFF2-40B4-BE49-F238E27FC236}">
                <a16:creationId xmlns:a16="http://schemas.microsoft.com/office/drawing/2014/main" id="{96F6B1A9-AC39-4B4E-88C4-8558D835FCFA}"/>
              </a:ext>
            </a:extLst>
          </p:cNvPr>
          <p:cNvSpPr>
            <a:spLocks noGrp="1"/>
          </p:cNvSpPr>
          <p:nvPr>
            <p:custDataLst>
              <p:tags r:id="rId7"/>
            </p:custDataLst>
          </p:nvPr>
        </p:nvSpPr>
        <p:spPr bwMode="gray">
          <a:xfrm>
            <a:off x="2609849" y="502443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B29F588-4B3A-47C7-B462-9F71D2913C19}"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0" name="Text Placeholder 2">
            <a:extLst>
              <a:ext uri="{FF2B5EF4-FFF2-40B4-BE49-F238E27FC236}">
                <a16:creationId xmlns:a16="http://schemas.microsoft.com/office/drawing/2014/main" id="{5FE849EE-88A3-4998-8FEE-9E8BF086D7E3}"/>
              </a:ext>
            </a:extLst>
          </p:cNvPr>
          <p:cNvSpPr>
            <a:spLocks noGrp="1"/>
          </p:cNvSpPr>
          <p:nvPr>
            <p:custDataLst>
              <p:tags r:id="rId8"/>
            </p:custDataLst>
          </p:nvPr>
        </p:nvSpPr>
        <p:spPr bwMode="gray">
          <a:xfrm>
            <a:off x="2609849" y="532923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E617BA3-DE8F-4975-9EA1-0B8222BB2D76}"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 name="Text Placeholder 2">
            <a:extLst>
              <a:ext uri="{FF2B5EF4-FFF2-40B4-BE49-F238E27FC236}">
                <a16:creationId xmlns:a16="http://schemas.microsoft.com/office/drawing/2014/main" id="{EA77D7DC-769F-4BFF-9496-D4A8EE954614}"/>
              </a:ext>
            </a:extLst>
          </p:cNvPr>
          <p:cNvSpPr>
            <a:spLocks noGrp="1"/>
          </p:cNvSpPr>
          <p:nvPr>
            <p:custDataLst>
              <p:tags r:id="rId9"/>
            </p:custDataLst>
          </p:nvPr>
        </p:nvSpPr>
        <p:spPr bwMode="gray">
          <a:xfrm>
            <a:off x="2609849" y="43830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1A7C7D-FF8A-46B8-8110-D6D0CE6CE1E6}"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6" name="Text Placeholder 2">
            <a:extLst>
              <a:ext uri="{FF2B5EF4-FFF2-40B4-BE49-F238E27FC236}">
                <a16:creationId xmlns:a16="http://schemas.microsoft.com/office/drawing/2014/main" id="{197A7541-2933-4CCD-8627-5291D220C471}"/>
              </a:ext>
            </a:extLst>
          </p:cNvPr>
          <p:cNvSpPr>
            <a:spLocks noGrp="1"/>
          </p:cNvSpPr>
          <p:nvPr>
            <p:custDataLst>
              <p:tags r:id="rId10"/>
            </p:custDataLst>
          </p:nvPr>
        </p:nvSpPr>
        <p:spPr bwMode="auto">
          <a:xfrm>
            <a:off x="2719388"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0E05C30-B3E8-4D4E-A47F-422C52501229}" type="datetime'''''''B''''a''''''r''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9" name="Text Placeholder 2">
            <a:extLst>
              <a:ext uri="{FF2B5EF4-FFF2-40B4-BE49-F238E27FC236}">
                <a16:creationId xmlns:a16="http://schemas.microsoft.com/office/drawing/2014/main" id="{D6A7FD5A-00E8-453F-94D9-50FAD8A6B086}"/>
              </a:ext>
            </a:extLst>
          </p:cNvPr>
          <p:cNvSpPr>
            <a:spLocks noGrp="1"/>
          </p:cNvSpPr>
          <p:nvPr>
            <p:custDataLst>
              <p:tags r:id="rId11"/>
            </p:custDataLst>
          </p:nvPr>
        </p:nvSpPr>
        <p:spPr bwMode="gray">
          <a:xfrm>
            <a:off x="5727699" y="526573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2634FDD-5B8A-4426-BC99-8994C29A7DDC}"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 name="Text Placeholder 2">
            <a:extLst>
              <a:ext uri="{FF2B5EF4-FFF2-40B4-BE49-F238E27FC236}">
                <a16:creationId xmlns:a16="http://schemas.microsoft.com/office/drawing/2014/main" id="{F6AC1204-FFA7-42CE-98D9-9062388D5088}"/>
              </a:ext>
            </a:extLst>
          </p:cNvPr>
          <p:cNvSpPr>
            <a:spLocks noGrp="1"/>
          </p:cNvSpPr>
          <p:nvPr>
            <p:custDataLst>
              <p:tags r:id="rId12"/>
            </p:custDataLst>
          </p:nvPr>
        </p:nvSpPr>
        <p:spPr bwMode="auto">
          <a:xfrm>
            <a:off x="5837238"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E1F0BB0-6012-421B-84A3-F049DF9D3E1A}" type="datetime'''''''''''''''B''a''''''r'''''' ''''''''''2'''''">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2</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9" name="Text Placeholder 2">
            <a:extLst>
              <a:ext uri="{FF2B5EF4-FFF2-40B4-BE49-F238E27FC236}">
                <a16:creationId xmlns:a16="http://schemas.microsoft.com/office/drawing/2014/main" id="{C36E61ED-A5E9-46A7-B6D4-44AB4C8185C3}"/>
              </a:ext>
            </a:extLst>
          </p:cNvPr>
          <p:cNvSpPr>
            <a:spLocks noGrp="1"/>
          </p:cNvSpPr>
          <p:nvPr>
            <p:custDataLst>
              <p:tags r:id="rId13"/>
            </p:custDataLst>
          </p:nvPr>
        </p:nvSpPr>
        <p:spPr bwMode="gray">
          <a:xfrm>
            <a:off x="8847137" y="530860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F08C5AE-2178-430E-9D94-0B88DC474CBE}"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3" name="Text Placeholder 2">
            <a:extLst>
              <a:ext uri="{FF2B5EF4-FFF2-40B4-BE49-F238E27FC236}">
                <a16:creationId xmlns:a16="http://schemas.microsoft.com/office/drawing/2014/main" id="{1C867200-79EE-4B5E-A776-D2116874643A}"/>
              </a:ext>
            </a:extLst>
          </p:cNvPr>
          <p:cNvSpPr>
            <a:spLocks noGrp="1"/>
          </p:cNvSpPr>
          <p:nvPr>
            <p:custDataLst>
              <p:tags r:id="rId14"/>
            </p:custDataLst>
          </p:nvPr>
        </p:nvSpPr>
        <p:spPr bwMode="gray">
          <a:xfrm>
            <a:off x="5911849" y="3132138"/>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3A2F69-40D3-49AF-A066-8CA5EB2E0E45}" type="datetime'''''''''''''''''''''''''''''''3''''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3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3" name="Text Placeholder 2">
            <a:extLst>
              <a:ext uri="{FF2B5EF4-FFF2-40B4-BE49-F238E27FC236}">
                <a16:creationId xmlns:a16="http://schemas.microsoft.com/office/drawing/2014/main" id="{1039A5C5-124A-4C4B-A629-9B128CD46C94}"/>
              </a:ext>
            </a:extLst>
          </p:cNvPr>
          <p:cNvSpPr>
            <a:spLocks noGrp="1"/>
          </p:cNvSpPr>
          <p:nvPr>
            <p:custDataLst>
              <p:tags r:id="rId15"/>
            </p:custDataLst>
          </p:nvPr>
        </p:nvSpPr>
        <p:spPr bwMode="gray">
          <a:xfrm>
            <a:off x="8847137" y="4906963"/>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0B422D0-AB7B-487A-8287-E4CB8AF6AE96}"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2" name="Text Placeholder 2">
            <a:extLst>
              <a:ext uri="{FF2B5EF4-FFF2-40B4-BE49-F238E27FC236}">
                <a16:creationId xmlns:a16="http://schemas.microsoft.com/office/drawing/2014/main" id="{D3B9DC39-CA7C-4B57-B5AB-E3484473506D}"/>
              </a:ext>
            </a:extLst>
          </p:cNvPr>
          <p:cNvSpPr>
            <a:spLocks noGrp="1"/>
          </p:cNvSpPr>
          <p:nvPr>
            <p:custDataLst>
              <p:tags r:id="rId16"/>
            </p:custDataLst>
          </p:nvPr>
        </p:nvSpPr>
        <p:spPr bwMode="auto">
          <a:xfrm>
            <a:off x="8956675"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0811DCC-E826-42E4-ADE5-B52AB45C743F}" type="datetime'''''''''''''''''''''''B''''a''''''''''r'''''''' ''''''''3'''">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3</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1" name="Text Placeholder 2">
            <a:extLst>
              <a:ext uri="{FF2B5EF4-FFF2-40B4-BE49-F238E27FC236}">
                <a16:creationId xmlns:a16="http://schemas.microsoft.com/office/drawing/2014/main" id="{830F9D2F-DCB2-4A1B-AB91-064640623CD7}"/>
              </a:ext>
            </a:extLst>
          </p:cNvPr>
          <p:cNvSpPr>
            <a:spLocks noGrp="1"/>
          </p:cNvSpPr>
          <p:nvPr>
            <p:custDataLst>
              <p:tags r:id="rId17"/>
            </p:custDataLst>
          </p:nvPr>
        </p:nvSpPr>
        <p:spPr bwMode="gray">
          <a:xfrm>
            <a:off x="2793999" y="3806825"/>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789F849-0401-43FA-BC8D-6AD154063EFF}" type="datetime'''''''''''''''''''''''22'''''''''''''''''''''''''">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22</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8" name="Text Placeholder 2">
            <a:extLst>
              <a:ext uri="{FF2B5EF4-FFF2-40B4-BE49-F238E27FC236}">
                <a16:creationId xmlns:a16="http://schemas.microsoft.com/office/drawing/2014/main" id="{14782612-21B2-4267-B1F8-16D494A089EE}"/>
              </a:ext>
            </a:extLst>
          </p:cNvPr>
          <p:cNvSpPr>
            <a:spLocks noGrp="1"/>
          </p:cNvSpPr>
          <p:nvPr>
            <p:custDataLst>
              <p:tags r:id="rId18"/>
            </p:custDataLst>
          </p:nvPr>
        </p:nvSpPr>
        <p:spPr bwMode="gray">
          <a:xfrm>
            <a:off x="9031287" y="2035175"/>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C5BC709-D662-4D56-9092-65C5D176E8A8}" type="datetime'''''''''''''''''''''''''''46'''''''''''''''''''">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46</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0" name="TextBox 59">
            <a:extLst>
              <a:ext uri="{FF2B5EF4-FFF2-40B4-BE49-F238E27FC236}">
                <a16:creationId xmlns:a16="http://schemas.microsoft.com/office/drawing/2014/main" id="{C9C85C48-4D3E-4736-BC89-C9C05FBDA81B}"/>
              </a:ext>
            </a:extLst>
          </p:cNvPr>
          <p:cNvSpPr txBox="1"/>
          <p:nvPr/>
        </p:nvSpPr>
        <p:spPr>
          <a:xfrm>
            <a:off x="1444625" y="1563795"/>
            <a:ext cx="9093200" cy="193899"/>
          </a:xfrm>
          <a:prstGeom prst="rect">
            <a:avLst/>
          </a:prstGeom>
          <a:noFill/>
        </p:spPr>
        <p:txBody>
          <a:bodyPr wrap="square" lIns="0" tIns="36576" rIns="0" bIns="0" rtlCol="0" anchor="b">
            <a:spAutoFit/>
          </a:bodyPr>
          <a:lstStyle/>
          <a:p>
            <a:pPr algn="ctr">
              <a:lnSpc>
                <a:spcPct val="85000"/>
              </a:lnSpc>
              <a:spcAft>
                <a:spcPts val="600"/>
              </a:spcAft>
              <a:buClr>
                <a:schemeClr val="accent2"/>
              </a:buClr>
              <a:buSzPct val="70000"/>
            </a:pPr>
            <a:r>
              <a:rPr lang="en-US" sz="1200" b="1"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Chart title</a:t>
            </a:r>
          </a:p>
        </p:txBody>
      </p:sp>
    </p:spTree>
    <p:extLst>
      <p:ext uri="{BB962C8B-B14F-4D97-AF65-F5344CB8AC3E}">
        <p14:creationId xmlns:p14="http://schemas.microsoft.com/office/powerpoint/2010/main" val="3893741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C09F1A3-759F-4DAF-BB11-CCF966185F4A}"/>
              </a:ext>
            </a:extLst>
          </p:cNvPr>
          <p:cNvGraphicFramePr>
            <a:graphicFrameLocks noChangeAspect="1"/>
          </p:cNvGraphicFramePr>
          <p:nvPr>
            <p:custDataLst>
              <p:tags r:id="rId1"/>
            </p:custDataLst>
            <p:extLst>
              <p:ext uri="{D42A27DB-BD31-4B8C-83A1-F6EECF244321}">
                <p14:modId xmlns:p14="http://schemas.microsoft.com/office/powerpoint/2010/main" val="407890817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7" imgW="306" imgH="306" progId="TCLayout.ActiveDocument.1">
                  <p:embed/>
                </p:oleObj>
              </mc:Choice>
              <mc:Fallback>
                <p:oleObj name="think-cell Slide" r:id="rId37" imgW="306" imgH="306" progId="TCLayout.ActiveDocument.1">
                  <p:embed/>
                  <p:pic>
                    <p:nvPicPr>
                      <p:cNvPr id="15" name="Object 14" hidden="1">
                        <a:extLst>
                          <a:ext uri="{FF2B5EF4-FFF2-40B4-BE49-F238E27FC236}">
                            <a16:creationId xmlns:a16="http://schemas.microsoft.com/office/drawing/2014/main" id="{EC09F1A3-759F-4DAF-BB11-CCF966185F4A}"/>
                          </a:ext>
                        </a:extLst>
                      </p:cNvPr>
                      <p:cNvPicPr/>
                      <p:nvPr/>
                    </p:nvPicPr>
                    <p:blipFill>
                      <a:blip r:embed="rId38"/>
                      <a:stretch>
                        <a:fillRect/>
                      </a:stretch>
                    </p:blipFill>
                    <p:spPr>
                      <a:xfrm>
                        <a:off x="-1587"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CBD7EB7-55CE-480D-A529-F79BCE1E2382}"/>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Text Placeholder 17">
            <a:extLst>
              <a:ext uri="{FF2B5EF4-FFF2-40B4-BE49-F238E27FC236}">
                <a16:creationId xmlns:a16="http://schemas.microsoft.com/office/drawing/2014/main" id="{60A6651D-81A5-4E69-AD59-E40A83040041}"/>
              </a:ext>
            </a:extLst>
          </p:cNvPr>
          <p:cNvSpPr>
            <a:spLocks noGrp="1"/>
          </p:cNvSpPr>
          <p:nvPr>
            <p:ph type="body" sz="quarter" idx="13"/>
          </p:nvPr>
        </p:nvSpPr>
        <p:spPr/>
        <p:txBody>
          <a:bodyPr/>
          <a:lstStyle/>
          <a:p>
            <a:endParaRPr lang="en-US">
              <a:latin typeface="EYInterstate Light" panose="02000506000000020004" pitchFamily="2" charset="0"/>
              <a:sym typeface="EYInterstate Light" panose="02000506000000020004" pitchFamily="2" charset="0"/>
            </a:endParaRPr>
          </a:p>
        </p:txBody>
      </p:sp>
      <p:sp>
        <p:nvSpPr>
          <p:cNvPr id="2" name="Title 1">
            <a:extLst>
              <a:ext uri="{FF2B5EF4-FFF2-40B4-BE49-F238E27FC236}">
                <a16:creationId xmlns:a16="http://schemas.microsoft.com/office/drawing/2014/main" id="{D8469D94-9C48-43CF-AAE1-DBF0D2BF4F69}"/>
              </a:ext>
            </a:extLst>
          </p:cNvPr>
          <p:cNvSpPr>
            <a:spLocks noGrp="1"/>
          </p:cNvSpPr>
          <p:nvPr>
            <p:ph type="title"/>
          </p:nvPr>
        </p:nvSpPr>
        <p:spPr/>
        <p:txBody>
          <a:bodyPr vert="horz"/>
          <a:lstStyle/>
          <a:p>
            <a:r>
              <a:rPr lang="en-US" dirty="0">
                <a:latin typeface="EYInterstate Light" panose="02000506000000020004" pitchFamily="2" charset="0"/>
                <a:sym typeface="EYInterstate Light" panose="02000506000000020004" pitchFamily="2" charset="0"/>
              </a:rPr>
              <a:t>Chart sample (Think-cell charts) advanced user palette</a:t>
            </a:r>
          </a:p>
        </p:txBody>
      </p:sp>
      <p:sp>
        <p:nvSpPr>
          <p:cNvPr id="17" name="Text Placeholder 16">
            <a:extLst>
              <a:ext uri="{FF2B5EF4-FFF2-40B4-BE49-F238E27FC236}">
                <a16:creationId xmlns:a16="http://schemas.microsoft.com/office/drawing/2014/main" id="{5988B078-9BB8-4B95-8167-5304DBDB7A02}"/>
              </a:ext>
            </a:extLst>
          </p:cNvPr>
          <p:cNvSpPr>
            <a:spLocks noGrp="1"/>
          </p:cNvSpPr>
          <p:nvPr>
            <p:ph type="body" sz="quarter" idx="12"/>
          </p:nvPr>
        </p:nvSpPr>
        <p:spPr>
          <a:xfrm>
            <a:off x="612648" y="80267"/>
            <a:ext cx="5495942" cy="184666"/>
          </a:xfrm>
        </p:spPr>
        <p:txBody>
          <a:bodyPr/>
          <a:lstStyle/>
          <a:p>
            <a:endParaRPr lang="en-US">
              <a:latin typeface="EYInterstate Light" panose="02000506000000020004" pitchFamily="2" charset="0"/>
              <a:sym typeface="EYInterstate Light" panose="02000506000000020004" pitchFamily="2" charset="0"/>
            </a:endParaRPr>
          </a:p>
        </p:txBody>
      </p:sp>
      <p:sp>
        <p:nvSpPr>
          <p:cNvPr id="16" name="Text Placeholder 15">
            <a:extLst>
              <a:ext uri="{FF2B5EF4-FFF2-40B4-BE49-F238E27FC236}">
                <a16:creationId xmlns:a16="http://schemas.microsoft.com/office/drawing/2014/main" id="{D9C86B6E-00F7-4818-86C6-3C202FD1F07F}"/>
              </a:ext>
            </a:extLst>
          </p:cNvPr>
          <p:cNvSpPr>
            <a:spLocks noGrp="1"/>
          </p:cNvSpPr>
          <p:nvPr>
            <p:ph type="body" sz="quarter" idx="11"/>
          </p:nvPr>
        </p:nvSpPr>
        <p:spPr/>
        <p:txBody>
          <a:bodyPr/>
          <a:lstStyle/>
          <a:p>
            <a:endParaRPr lang="en-US" sz="800">
              <a:latin typeface="EYInterstate Light" panose="02000506000000020004" pitchFamily="2" charset="0"/>
              <a:sym typeface="EYInterstate Light" panose="02000506000000020004" pitchFamily="2" charset="0"/>
            </a:endParaRPr>
          </a:p>
        </p:txBody>
      </p:sp>
      <p:sp>
        <p:nvSpPr>
          <p:cNvPr id="19" name="Text Placeholder 18">
            <a:extLst>
              <a:ext uri="{FF2B5EF4-FFF2-40B4-BE49-F238E27FC236}">
                <a16:creationId xmlns:a16="http://schemas.microsoft.com/office/drawing/2014/main" id="{675DFF38-2100-4329-BC78-9ECE2F544345}"/>
              </a:ext>
            </a:extLst>
          </p:cNvPr>
          <p:cNvSpPr>
            <a:spLocks noGrp="1"/>
          </p:cNvSpPr>
          <p:nvPr>
            <p:ph type="body" sz="quarter" idx="14"/>
          </p:nvPr>
        </p:nvSpPr>
        <p:spPr/>
        <p:txBody>
          <a:bodyPr/>
          <a:lstStyle/>
          <a:p>
            <a:endParaRPr lang="en-US">
              <a:latin typeface="EYInterstate Light" panose="02000506000000020004" pitchFamily="2" charset="0"/>
              <a:sym typeface="EYInterstate Light" panose="02000506000000020004" pitchFamily="2" charset="0"/>
            </a:endParaRPr>
          </a:p>
        </p:txBody>
      </p:sp>
      <p:graphicFrame>
        <p:nvGraphicFramePr>
          <p:cNvPr id="56" name="Chart 55">
            <a:extLst>
              <a:ext uri="{FF2B5EF4-FFF2-40B4-BE49-F238E27FC236}">
                <a16:creationId xmlns:a16="http://schemas.microsoft.com/office/drawing/2014/main" id="{1DC525E6-55F9-403A-ABC0-096E52613250}"/>
              </a:ext>
            </a:extLst>
          </p:cNvPr>
          <p:cNvGraphicFramePr/>
          <p:nvPr>
            <p:custDataLst>
              <p:tags r:id="rId3"/>
            </p:custDataLst>
            <p:extLst>
              <p:ext uri="{D42A27DB-BD31-4B8C-83A1-F6EECF244321}">
                <p14:modId xmlns:p14="http://schemas.microsoft.com/office/powerpoint/2010/main" val="4245302078"/>
              </p:ext>
            </p:extLst>
          </p:nvPr>
        </p:nvGraphicFramePr>
        <p:xfrm>
          <a:off x="533400" y="1905000"/>
          <a:ext cx="5094288" cy="3722688"/>
        </p:xfrm>
        <a:graphic>
          <a:graphicData uri="http://schemas.openxmlformats.org/drawingml/2006/chart">
            <c:chart xmlns:c="http://schemas.openxmlformats.org/drawingml/2006/chart" xmlns:r="http://schemas.openxmlformats.org/officeDocument/2006/relationships" r:id="rId39"/>
          </a:graphicData>
        </a:graphic>
      </p:graphicFrame>
      <p:sp>
        <p:nvSpPr>
          <p:cNvPr id="310" name="Text Placeholder 2">
            <a:extLst>
              <a:ext uri="{FF2B5EF4-FFF2-40B4-BE49-F238E27FC236}">
                <a16:creationId xmlns:a16="http://schemas.microsoft.com/office/drawing/2014/main" id="{2293E881-DC55-4DBF-9BC6-9F1F66B2849D}"/>
              </a:ext>
            </a:extLst>
          </p:cNvPr>
          <p:cNvSpPr>
            <a:spLocks noGrp="1"/>
          </p:cNvSpPr>
          <p:nvPr>
            <p:custDataLst>
              <p:tags r:id="rId4"/>
            </p:custDataLst>
          </p:nvPr>
        </p:nvSpPr>
        <p:spPr bwMode="gray">
          <a:xfrm>
            <a:off x="2778124" y="39131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0E908D8-133C-41B5-8C2E-989F07B0835C}"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14" name="Text Placeholder 2">
            <a:extLst>
              <a:ext uri="{FF2B5EF4-FFF2-40B4-BE49-F238E27FC236}">
                <a16:creationId xmlns:a16="http://schemas.microsoft.com/office/drawing/2014/main" id="{FD53AB57-CF55-4D72-9A36-D3B0D792F869}"/>
              </a:ext>
            </a:extLst>
          </p:cNvPr>
          <p:cNvSpPr>
            <a:spLocks noGrp="1"/>
          </p:cNvSpPr>
          <p:nvPr>
            <p:custDataLst>
              <p:tags r:id="rId5"/>
            </p:custDataLst>
          </p:nvPr>
        </p:nvSpPr>
        <p:spPr bwMode="gray">
          <a:xfrm>
            <a:off x="1135062" y="430053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8F8E460-B709-4AD6-901F-1A482BAC4B59}"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Text Placeholder 2">
            <a:extLst>
              <a:ext uri="{FF2B5EF4-FFF2-40B4-BE49-F238E27FC236}">
                <a16:creationId xmlns:a16="http://schemas.microsoft.com/office/drawing/2014/main" id="{4EEC2ED3-4A3B-46AC-AFFC-FAE25E0E6BB6}"/>
              </a:ext>
            </a:extLst>
          </p:cNvPr>
          <p:cNvSpPr>
            <a:spLocks noGrp="1"/>
          </p:cNvSpPr>
          <p:nvPr>
            <p:custDataLst>
              <p:tags r:id="rId6"/>
            </p:custDataLst>
          </p:nvPr>
        </p:nvSpPr>
        <p:spPr bwMode="gray">
          <a:xfrm>
            <a:off x="1135062" y="5319713"/>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9E5DD17-382F-407D-941C-FED1FC54912C}"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Text Placeholder 2">
            <a:extLst>
              <a:ext uri="{FF2B5EF4-FFF2-40B4-BE49-F238E27FC236}">
                <a16:creationId xmlns:a16="http://schemas.microsoft.com/office/drawing/2014/main" id="{1C900710-40BD-43FA-8069-054EDE7549BC}"/>
              </a:ext>
            </a:extLst>
          </p:cNvPr>
          <p:cNvSpPr>
            <a:spLocks noGrp="1"/>
          </p:cNvSpPr>
          <p:nvPr>
            <p:custDataLst>
              <p:tags r:id="rId7"/>
            </p:custDataLst>
          </p:nvPr>
        </p:nvSpPr>
        <p:spPr bwMode="gray">
          <a:xfrm>
            <a:off x="1135062" y="499110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F6D9D8-B498-41AF-BF2F-2CAE433E369B}"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6" name="Text Placeholder 2">
            <a:extLst>
              <a:ext uri="{FF2B5EF4-FFF2-40B4-BE49-F238E27FC236}">
                <a16:creationId xmlns:a16="http://schemas.microsoft.com/office/drawing/2014/main" id="{79EBB07E-4392-4165-9C6C-AE8B859DF7D8}"/>
              </a:ext>
            </a:extLst>
          </p:cNvPr>
          <p:cNvSpPr>
            <a:spLocks noGrp="1"/>
          </p:cNvSpPr>
          <p:nvPr>
            <p:custDataLst>
              <p:tags r:id="rId8"/>
            </p:custDataLst>
          </p:nvPr>
        </p:nvSpPr>
        <p:spPr bwMode="auto">
          <a:xfrm>
            <a:off x="2887663"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339D4E2-D32E-49B8-8285-E4AE7A081FB0}" type="datetime'Ba''''''r'''''''''' ''''''''''2'''">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2</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6" name="Text Placeholder 2">
            <a:extLst>
              <a:ext uri="{FF2B5EF4-FFF2-40B4-BE49-F238E27FC236}">
                <a16:creationId xmlns:a16="http://schemas.microsoft.com/office/drawing/2014/main" id="{22B7A344-A33F-4FDB-9C38-BE82061F44DE}"/>
              </a:ext>
            </a:extLst>
          </p:cNvPr>
          <p:cNvSpPr>
            <a:spLocks noGrp="1"/>
          </p:cNvSpPr>
          <p:nvPr>
            <p:custDataLst>
              <p:tags r:id="rId9"/>
            </p:custDataLst>
          </p:nvPr>
        </p:nvSpPr>
        <p:spPr bwMode="auto">
          <a:xfrm>
            <a:off x="1244600"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D0F86FF-EBA3-4E19-996C-426AE68CE6D1}" type="datetime'B''''''''a''''r''''''''''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4" name="Text Placeholder 2">
            <a:extLst>
              <a:ext uri="{FF2B5EF4-FFF2-40B4-BE49-F238E27FC236}">
                <a16:creationId xmlns:a16="http://schemas.microsoft.com/office/drawing/2014/main" id="{F4943D60-1354-4244-A491-A45B6D124873}"/>
              </a:ext>
            </a:extLst>
          </p:cNvPr>
          <p:cNvSpPr>
            <a:spLocks noGrp="1"/>
          </p:cNvSpPr>
          <p:nvPr>
            <p:custDataLst>
              <p:tags r:id="rId10"/>
            </p:custDataLst>
          </p:nvPr>
        </p:nvSpPr>
        <p:spPr bwMode="gray">
          <a:xfrm>
            <a:off x="2778124" y="525145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48A7E93-6D55-4400-A6F4-11E197523A9B}"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5" name="Text Placeholder 2">
            <a:extLst>
              <a:ext uri="{FF2B5EF4-FFF2-40B4-BE49-F238E27FC236}">
                <a16:creationId xmlns:a16="http://schemas.microsoft.com/office/drawing/2014/main" id="{56B8E088-2C70-4EC8-AF0F-70AABF01707E}"/>
              </a:ext>
            </a:extLst>
          </p:cNvPr>
          <p:cNvSpPr>
            <a:spLocks noGrp="1"/>
          </p:cNvSpPr>
          <p:nvPr>
            <p:custDataLst>
              <p:tags r:id="rId11"/>
            </p:custDataLst>
          </p:nvPr>
        </p:nvSpPr>
        <p:spPr bwMode="gray">
          <a:xfrm>
            <a:off x="2778124" y="4899025"/>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828D7CE-945C-49F9-93BF-BB67006CDB8A}"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7" name="Text Placeholder 2">
            <a:extLst>
              <a:ext uri="{FF2B5EF4-FFF2-40B4-BE49-F238E27FC236}">
                <a16:creationId xmlns:a16="http://schemas.microsoft.com/office/drawing/2014/main" id="{3BC565F5-1AC1-4E8F-BD63-891CF7CE2779}"/>
              </a:ext>
            </a:extLst>
          </p:cNvPr>
          <p:cNvSpPr>
            <a:spLocks noGrp="1"/>
          </p:cNvSpPr>
          <p:nvPr>
            <p:custDataLst>
              <p:tags r:id="rId12"/>
            </p:custDataLst>
          </p:nvPr>
        </p:nvSpPr>
        <p:spPr bwMode="gray">
          <a:xfrm>
            <a:off x="4421187" y="52974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F452B41-2539-4DA1-A6F7-B7DA7B60BA78}"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8" name="Text Placeholder 2">
            <a:extLst>
              <a:ext uri="{FF2B5EF4-FFF2-40B4-BE49-F238E27FC236}">
                <a16:creationId xmlns:a16="http://schemas.microsoft.com/office/drawing/2014/main" id="{7709E9F6-ECB7-4091-98F5-EB5AD1302677}"/>
              </a:ext>
            </a:extLst>
          </p:cNvPr>
          <p:cNvSpPr>
            <a:spLocks noGrp="1"/>
          </p:cNvSpPr>
          <p:nvPr>
            <p:custDataLst>
              <p:tags r:id="rId13"/>
            </p:custDataLst>
          </p:nvPr>
        </p:nvSpPr>
        <p:spPr bwMode="gray">
          <a:xfrm>
            <a:off x="4421187" y="486410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0F782A8-31AE-446D-A54D-03CDF74E9436}"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9" name="Text Placeholder 2">
            <a:extLst>
              <a:ext uri="{FF2B5EF4-FFF2-40B4-BE49-F238E27FC236}">
                <a16:creationId xmlns:a16="http://schemas.microsoft.com/office/drawing/2014/main" id="{C2E05C73-DB74-4A6F-805A-807AF3B6DD2B}"/>
              </a:ext>
            </a:extLst>
          </p:cNvPr>
          <p:cNvSpPr>
            <a:spLocks noGrp="1"/>
          </p:cNvSpPr>
          <p:nvPr>
            <p:custDataLst>
              <p:tags r:id="rId14"/>
            </p:custDataLst>
          </p:nvPr>
        </p:nvSpPr>
        <p:spPr bwMode="gray">
          <a:xfrm>
            <a:off x="4421187" y="3241675"/>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8A59CB-B410-49F5-B9F8-E958FBF57EEC}"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0" name="Text Placeholder 2">
            <a:extLst>
              <a:ext uri="{FF2B5EF4-FFF2-40B4-BE49-F238E27FC236}">
                <a16:creationId xmlns:a16="http://schemas.microsoft.com/office/drawing/2014/main" id="{06B0A09F-CE1E-49BE-9D89-74195A7F548D}"/>
              </a:ext>
            </a:extLst>
          </p:cNvPr>
          <p:cNvSpPr>
            <a:spLocks noGrp="1"/>
          </p:cNvSpPr>
          <p:nvPr>
            <p:custDataLst>
              <p:tags r:id="rId15"/>
            </p:custDataLst>
          </p:nvPr>
        </p:nvSpPr>
        <p:spPr bwMode="auto">
          <a:xfrm>
            <a:off x="4530725"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90BAAE9-5623-48B7-8DB4-E2D2923F2C2B}" type="datetime'''Ba''''''r'''''''''''''''''' 3'''''''''''">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3</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1" name="Text Placeholder 2">
            <a:extLst>
              <a:ext uri="{FF2B5EF4-FFF2-40B4-BE49-F238E27FC236}">
                <a16:creationId xmlns:a16="http://schemas.microsoft.com/office/drawing/2014/main" id="{0A3A8488-A30A-4152-9420-3A2AF7FDF2FA}"/>
              </a:ext>
            </a:extLst>
          </p:cNvPr>
          <p:cNvSpPr>
            <a:spLocks noGrp="1"/>
          </p:cNvSpPr>
          <p:nvPr>
            <p:custDataLst>
              <p:tags r:id="rId16"/>
            </p:custDataLst>
          </p:nvPr>
        </p:nvSpPr>
        <p:spPr bwMode="gray">
          <a:xfrm>
            <a:off x="1319212" y="3689350"/>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3DDAD81-0055-4E00-B93A-8BE6900853CF}" type="datetime'''''''''''''''''2''''''''''''''''''''''''2'''''''''''''''">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22</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2" name="Text Placeholder 2">
            <a:extLst>
              <a:ext uri="{FF2B5EF4-FFF2-40B4-BE49-F238E27FC236}">
                <a16:creationId xmlns:a16="http://schemas.microsoft.com/office/drawing/2014/main" id="{59E656F1-EDCF-4CB1-B60B-4B600E2F0A4F}"/>
              </a:ext>
            </a:extLst>
          </p:cNvPr>
          <p:cNvSpPr>
            <a:spLocks noGrp="1"/>
          </p:cNvSpPr>
          <p:nvPr>
            <p:custDataLst>
              <p:tags r:id="rId17"/>
            </p:custDataLst>
          </p:nvPr>
        </p:nvSpPr>
        <p:spPr bwMode="gray">
          <a:xfrm>
            <a:off x="2962274" y="2960688"/>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F29112A-DBCF-4A7D-9A0C-338B8AAAD54C}" type="datetime'3''''''''''''''''''''''''''''''''''''''''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3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3" name="Text Placeholder 2">
            <a:extLst>
              <a:ext uri="{FF2B5EF4-FFF2-40B4-BE49-F238E27FC236}">
                <a16:creationId xmlns:a16="http://schemas.microsoft.com/office/drawing/2014/main" id="{637FA837-99DD-4CE5-9A11-586FEE2F879B}"/>
              </a:ext>
            </a:extLst>
          </p:cNvPr>
          <p:cNvSpPr>
            <a:spLocks noGrp="1"/>
          </p:cNvSpPr>
          <p:nvPr>
            <p:custDataLst>
              <p:tags r:id="rId18"/>
            </p:custDataLst>
          </p:nvPr>
        </p:nvSpPr>
        <p:spPr bwMode="gray">
          <a:xfrm>
            <a:off x="4605337" y="1779588"/>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1CB050A-3742-4E03-A6E0-5449122EB3C3}" type="datetime'''''''''''''''''''''4''''''''''''6'''">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46</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 name="TextBox 3">
            <a:extLst>
              <a:ext uri="{FF2B5EF4-FFF2-40B4-BE49-F238E27FC236}">
                <a16:creationId xmlns:a16="http://schemas.microsoft.com/office/drawing/2014/main" id="{018CAFA1-4A58-4C5D-B885-9B453DDEF5E6}"/>
              </a:ext>
            </a:extLst>
          </p:cNvPr>
          <p:cNvSpPr txBox="1"/>
          <p:nvPr/>
        </p:nvSpPr>
        <p:spPr>
          <a:xfrm>
            <a:off x="996950" y="1576874"/>
            <a:ext cx="4168775" cy="180820"/>
          </a:xfrm>
          <a:prstGeom prst="rect">
            <a:avLst/>
          </a:prstGeom>
          <a:noFill/>
        </p:spPr>
        <p:txBody>
          <a:bodyPr wrap="square" lIns="0" tIns="36576" rIns="0" bIns="0" rtlCol="0" anchor="b">
            <a:spAutoFit/>
          </a:bodyPr>
          <a:lstStyle/>
          <a:p>
            <a:pPr algn="ctr">
              <a:lnSpc>
                <a:spcPct val="85000"/>
              </a:lnSpc>
              <a:spcAft>
                <a:spcPts val="600"/>
              </a:spcAft>
              <a:buClr>
                <a:schemeClr val="accent2"/>
              </a:buClr>
              <a:buSzPct val="70000"/>
            </a:pPr>
            <a:r>
              <a:rPr lang="en-US" sz="1100" b="1"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Chart title</a:t>
            </a:r>
          </a:p>
        </p:txBody>
      </p:sp>
      <p:sp>
        <p:nvSpPr>
          <p:cNvPr id="60" name="TextBox 59">
            <a:extLst>
              <a:ext uri="{FF2B5EF4-FFF2-40B4-BE49-F238E27FC236}">
                <a16:creationId xmlns:a16="http://schemas.microsoft.com/office/drawing/2014/main" id="{1CCEF8A5-46A4-4677-B1A6-024FB10A8EE4}"/>
              </a:ext>
            </a:extLst>
          </p:cNvPr>
          <p:cNvSpPr txBox="1"/>
          <p:nvPr/>
        </p:nvSpPr>
        <p:spPr>
          <a:xfrm>
            <a:off x="7031038" y="1579982"/>
            <a:ext cx="4168775" cy="180820"/>
          </a:xfrm>
          <a:prstGeom prst="rect">
            <a:avLst/>
          </a:prstGeom>
          <a:noFill/>
        </p:spPr>
        <p:txBody>
          <a:bodyPr wrap="square" lIns="0" tIns="36576" rIns="0" bIns="0" rtlCol="0" anchor="b">
            <a:spAutoFit/>
          </a:bodyPr>
          <a:lstStyle/>
          <a:p>
            <a:pPr algn="ctr">
              <a:lnSpc>
                <a:spcPct val="85000"/>
              </a:lnSpc>
              <a:spcAft>
                <a:spcPts val="600"/>
              </a:spcAft>
              <a:buClr>
                <a:schemeClr val="accent2"/>
              </a:buClr>
              <a:buSzPct val="70000"/>
            </a:pPr>
            <a:r>
              <a:rPr lang="en-US" sz="1100" b="1" dirty="0">
                <a:solidFill>
                  <a:schemeClr val="bg1"/>
                </a:solidFill>
                <a:latin typeface="EYInterstate Light" panose="02000506000000020004" pitchFamily="2" charset="0"/>
                <a:cs typeface="Arial" panose="020B0604020202020204" pitchFamily="34" charset="0"/>
                <a:sym typeface="EYInterstate Light" panose="02000506000000020004" pitchFamily="2" charset="0"/>
              </a:rPr>
              <a:t>Chart title</a:t>
            </a:r>
          </a:p>
        </p:txBody>
      </p:sp>
      <p:graphicFrame>
        <p:nvGraphicFramePr>
          <p:cNvPr id="57" name="Chart 56">
            <a:extLst>
              <a:ext uri="{FF2B5EF4-FFF2-40B4-BE49-F238E27FC236}">
                <a16:creationId xmlns:a16="http://schemas.microsoft.com/office/drawing/2014/main" id="{6E4F7F50-4903-4CD0-9289-4FD93C5192C5}"/>
              </a:ext>
            </a:extLst>
          </p:cNvPr>
          <p:cNvGraphicFramePr/>
          <p:nvPr>
            <p:custDataLst>
              <p:tags r:id="rId19"/>
            </p:custDataLst>
            <p:extLst>
              <p:ext uri="{D42A27DB-BD31-4B8C-83A1-F6EECF244321}">
                <p14:modId xmlns:p14="http://schemas.microsoft.com/office/powerpoint/2010/main" val="2046431854"/>
              </p:ext>
            </p:extLst>
          </p:nvPr>
        </p:nvGraphicFramePr>
        <p:xfrm>
          <a:off x="6565900" y="1905000"/>
          <a:ext cx="5097463" cy="3722688"/>
        </p:xfrm>
        <a:graphic>
          <a:graphicData uri="http://schemas.openxmlformats.org/drawingml/2006/chart">
            <c:chart xmlns:c="http://schemas.openxmlformats.org/drawingml/2006/chart" xmlns:r="http://schemas.openxmlformats.org/officeDocument/2006/relationships" r:id="rId40"/>
          </a:graphicData>
        </a:graphic>
      </p:graphicFrame>
      <p:sp>
        <p:nvSpPr>
          <p:cNvPr id="322" name="Text Placeholder 2">
            <a:extLst>
              <a:ext uri="{FF2B5EF4-FFF2-40B4-BE49-F238E27FC236}">
                <a16:creationId xmlns:a16="http://schemas.microsoft.com/office/drawing/2014/main" id="{CAD037F5-ADA1-4E76-A8C4-A26411B910E8}"/>
              </a:ext>
            </a:extLst>
          </p:cNvPr>
          <p:cNvSpPr>
            <a:spLocks noGrp="1"/>
          </p:cNvSpPr>
          <p:nvPr>
            <p:custDataLst>
              <p:tags r:id="rId20"/>
            </p:custDataLst>
          </p:nvPr>
        </p:nvSpPr>
        <p:spPr bwMode="auto">
          <a:xfrm>
            <a:off x="8921750"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F05B373-81C7-4DBB-8E5A-D6202E83E8DC}" type="datetime'''''''''''''''''B''''''''''''a''''r'''''''''' ''''2'''">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2</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6" name="Text Placeholder 2">
            <a:extLst>
              <a:ext uri="{FF2B5EF4-FFF2-40B4-BE49-F238E27FC236}">
                <a16:creationId xmlns:a16="http://schemas.microsoft.com/office/drawing/2014/main" id="{A5BCDFE1-657F-4F67-A3DA-91ED7581B1AB}"/>
              </a:ext>
            </a:extLst>
          </p:cNvPr>
          <p:cNvSpPr>
            <a:spLocks noGrp="1"/>
          </p:cNvSpPr>
          <p:nvPr>
            <p:custDataLst>
              <p:tags r:id="rId21"/>
            </p:custDataLst>
          </p:nvPr>
        </p:nvSpPr>
        <p:spPr bwMode="gray">
          <a:xfrm>
            <a:off x="7353299" y="3689350"/>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ACD8A0A-0031-4398-99A9-A8BDDDC260FF}" type="datetime'2''''2'''''''''''''">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22</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8" name="Text Placeholder 2">
            <a:extLst>
              <a:ext uri="{FF2B5EF4-FFF2-40B4-BE49-F238E27FC236}">
                <a16:creationId xmlns:a16="http://schemas.microsoft.com/office/drawing/2014/main" id="{4D618831-E4E2-41E2-992D-DE1A4AAC0EEF}"/>
              </a:ext>
            </a:extLst>
          </p:cNvPr>
          <p:cNvSpPr>
            <a:spLocks noGrp="1"/>
          </p:cNvSpPr>
          <p:nvPr>
            <p:custDataLst>
              <p:tags r:id="rId22"/>
            </p:custDataLst>
          </p:nvPr>
        </p:nvSpPr>
        <p:spPr bwMode="gray">
          <a:xfrm>
            <a:off x="7169149" y="499110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C0B6EF1-AE14-40CA-81E7-885A68900576}"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4" name="Text Placeholder 2">
            <a:extLst>
              <a:ext uri="{FF2B5EF4-FFF2-40B4-BE49-F238E27FC236}">
                <a16:creationId xmlns:a16="http://schemas.microsoft.com/office/drawing/2014/main" id="{B38FDC85-7FB1-4514-AD78-D4D23E2EF82C}"/>
              </a:ext>
            </a:extLst>
          </p:cNvPr>
          <p:cNvSpPr>
            <a:spLocks noGrp="1"/>
          </p:cNvSpPr>
          <p:nvPr>
            <p:custDataLst>
              <p:tags r:id="rId23"/>
            </p:custDataLst>
          </p:nvPr>
        </p:nvSpPr>
        <p:spPr bwMode="gray">
          <a:xfrm>
            <a:off x="7169149" y="5319713"/>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C75DCE6-39C0-46C7-9389-CD906F7CC6B3}"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9" name="Text Placeholder 2">
            <a:extLst>
              <a:ext uri="{FF2B5EF4-FFF2-40B4-BE49-F238E27FC236}">
                <a16:creationId xmlns:a16="http://schemas.microsoft.com/office/drawing/2014/main" id="{A3F69FEB-F3DD-43B3-9B26-79A3D9826B92}"/>
              </a:ext>
            </a:extLst>
          </p:cNvPr>
          <p:cNvSpPr>
            <a:spLocks noGrp="1"/>
          </p:cNvSpPr>
          <p:nvPr>
            <p:custDataLst>
              <p:tags r:id="rId24"/>
            </p:custDataLst>
          </p:nvPr>
        </p:nvSpPr>
        <p:spPr bwMode="gray">
          <a:xfrm>
            <a:off x="8812212" y="39131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32942BB-3FDA-4946-B4A5-2DC279127413}"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1" name="Text Placeholder 2">
            <a:extLst>
              <a:ext uri="{FF2B5EF4-FFF2-40B4-BE49-F238E27FC236}">
                <a16:creationId xmlns:a16="http://schemas.microsoft.com/office/drawing/2014/main" id="{BA3256AF-693F-46AC-BA10-6798E6810FB7}"/>
              </a:ext>
            </a:extLst>
          </p:cNvPr>
          <p:cNvSpPr>
            <a:spLocks noGrp="1"/>
          </p:cNvSpPr>
          <p:nvPr>
            <p:custDataLst>
              <p:tags r:id="rId25"/>
            </p:custDataLst>
          </p:nvPr>
        </p:nvSpPr>
        <p:spPr bwMode="gray">
          <a:xfrm>
            <a:off x="8812212" y="525145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B2204EB-2660-4B4C-9DA1-E9834CB54314}"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7" name="Text Placeholder 2">
            <a:extLst>
              <a:ext uri="{FF2B5EF4-FFF2-40B4-BE49-F238E27FC236}">
                <a16:creationId xmlns:a16="http://schemas.microsoft.com/office/drawing/2014/main" id="{E903E1BC-A74B-4CAB-A3CF-D75DC9D86151}"/>
              </a:ext>
            </a:extLst>
          </p:cNvPr>
          <p:cNvSpPr>
            <a:spLocks noGrp="1"/>
          </p:cNvSpPr>
          <p:nvPr>
            <p:custDataLst>
              <p:tags r:id="rId26"/>
            </p:custDataLst>
          </p:nvPr>
        </p:nvSpPr>
        <p:spPr bwMode="gray">
          <a:xfrm>
            <a:off x="7169149" y="430053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E814D25-B3BA-4F6F-9937-1D3CC9A3E0B8}"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0" name="Text Placeholder 2">
            <a:extLst>
              <a:ext uri="{FF2B5EF4-FFF2-40B4-BE49-F238E27FC236}">
                <a16:creationId xmlns:a16="http://schemas.microsoft.com/office/drawing/2014/main" id="{45D24D5B-B306-4545-9673-3527A76CA5B2}"/>
              </a:ext>
            </a:extLst>
          </p:cNvPr>
          <p:cNvSpPr>
            <a:spLocks noGrp="1"/>
          </p:cNvSpPr>
          <p:nvPr>
            <p:custDataLst>
              <p:tags r:id="rId27"/>
            </p:custDataLst>
          </p:nvPr>
        </p:nvSpPr>
        <p:spPr bwMode="auto">
          <a:xfrm>
            <a:off x="7278688"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E3EDB4-56B0-4D87-8E2D-C8FACFCB2893}" type="datetime'''''''''B''''''''''a''r''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5" name="Text Placeholder 2">
            <a:extLst>
              <a:ext uri="{FF2B5EF4-FFF2-40B4-BE49-F238E27FC236}">
                <a16:creationId xmlns:a16="http://schemas.microsoft.com/office/drawing/2014/main" id="{E449F9CB-683D-40DA-A8DB-FF4948C7F652}"/>
              </a:ext>
            </a:extLst>
          </p:cNvPr>
          <p:cNvSpPr>
            <a:spLocks noGrp="1"/>
          </p:cNvSpPr>
          <p:nvPr>
            <p:custDataLst>
              <p:tags r:id="rId28"/>
            </p:custDataLst>
          </p:nvPr>
        </p:nvSpPr>
        <p:spPr bwMode="gray">
          <a:xfrm>
            <a:off x="8812212" y="4899025"/>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A8FB384-EFE0-4B0B-90B6-3D3BEDA4C44B}"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3" name="Text Placeholder 2">
            <a:extLst>
              <a:ext uri="{FF2B5EF4-FFF2-40B4-BE49-F238E27FC236}">
                <a16:creationId xmlns:a16="http://schemas.microsoft.com/office/drawing/2014/main" id="{A47A09B9-06ED-4B3A-8EC4-2D6157C38A50}"/>
              </a:ext>
            </a:extLst>
          </p:cNvPr>
          <p:cNvSpPr>
            <a:spLocks noGrp="1"/>
          </p:cNvSpPr>
          <p:nvPr>
            <p:custDataLst>
              <p:tags r:id="rId29"/>
            </p:custDataLst>
          </p:nvPr>
        </p:nvSpPr>
        <p:spPr bwMode="gray">
          <a:xfrm>
            <a:off x="10456862" y="5297488"/>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0815D83-C470-4149-B221-E4F295459E0E}" type="datetime'''''''S''''''er''''''''i''es'''' 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4" name="Text Placeholder 2">
            <a:extLst>
              <a:ext uri="{FF2B5EF4-FFF2-40B4-BE49-F238E27FC236}">
                <a16:creationId xmlns:a16="http://schemas.microsoft.com/office/drawing/2014/main" id="{829A2B4F-C68E-4C33-ADEB-1D95835FAFC9}"/>
              </a:ext>
            </a:extLst>
          </p:cNvPr>
          <p:cNvSpPr>
            <a:spLocks noGrp="1"/>
          </p:cNvSpPr>
          <p:nvPr>
            <p:custDataLst>
              <p:tags r:id="rId30"/>
            </p:custDataLst>
          </p:nvPr>
        </p:nvSpPr>
        <p:spPr bwMode="gray">
          <a:xfrm>
            <a:off x="10456862" y="4864100"/>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32AC0D-45A2-4170-BC1B-EEA405ABE985}" type="datetime'''Ser''''''''''''''''''i''e''''''''s'''' ''''''''''''''2'''''">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2</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5" name="Text Placeholder 2">
            <a:extLst>
              <a:ext uri="{FF2B5EF4-FFF2-40B4-BE49-F238E27FC236}">
                <a16:creationId xmlns:a16="http://schemas.microsoft.com/office/drawing/2014/main" id="{2F750A11-BC6D-4D5F-8464-C1C01F427386}"/>
              </a:ext>
            </a:extLst>
          </p:cNvPr>
          <p:cNvSpPr>
            <a:spLocks noGrp="1"/>
          </p:cNvSpPr>
          <p:nvPr>
            <p:custDataLst>
              <p:tags r:id="rId31"/>
            </p:custDataLst>
          </p:nvPr>
        </p:nvSpPr>
        <p:spPr bwMode="gray">
          <a:xfrm>
            <a:off x="10456862" y="3241675"/>
            <a:ext cx="603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129C992-106D-4EDC-926B-0849D8BA6A06}" type="datetime'''''''''''''''S''''''''''erie''''s ''''''''''''3'''''">
              <a:rPr lang="en-US" altLang="en-US" sz="1200">
                <a:solidFill>
                  <a:schemeClr val="tx1"/>
                </a:solidFill>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Series 3</a:t>
            </a:fld>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6" name="Text Placeholder 2">
            <a:extLst>
              <a:ext uri="{FF2B5EF4-FFF2-40B4-BE49-F238E27FC236}">
                <a16:creationId xmlns:a16="http://schemas.microsoft.com/office/drawing/2014/main" id="{C05B3402-3C0F-48F3-90B2-93708B07803A}"/>
              </a:ext>
            </a:extLst>
          </p:cNvPr>
          <p:cNvSpPr>
            <a:spLocks noGrp="1"/>
          </p:cNvSpPr>
          <p:nvPr>
            <p:custDataLst>
              <p:tags r:id="rId32"/>
            </p:custDataLst>
          </p:nvPr>
        </p:nvSpPr>
        <p:spPr bwMode="auto">
          <a:xfrm>
            <a:off x="10566400" y="5595938"/>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0AEAB77-921A-4594-A7AF-4AC4A83EE39A}" type="datetime'''''''Ba''''''''r'''''''''''''''''' ''''''''''''''''''''3'''">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Bar 3</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7" name="Text Placeholder 2">
            <a:extLst>
              <a:ext uri="{FF2B5EF4-FFF2-40B4-BE49-F238E27FC236}">
                <a16:creationId xmlns:a16="http://schemas.microsoft.com/office/drawing/2014/main" id="{FD2DBD3F-B73C-41C3-8A3B-AFFEB09F62AB}"/>
              </a:ext>
            </a:extLst>
          </p:cNvPr>
          <p:cNvSpPr>
            <a:spLocks noGrp="1"/>
          </p:cNvSpPr>
          <p:nvPr>
            <p:custDataLst>
              <p:tags r:id="rId33"/>
            </p:custDataLst>
          </p:nvPr>
        </p:nvSpPr>
        <p:spPr bwMode="gray">
          <a:xfrm>
            <a:off x="8996362" y="2960688"/>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D3DCA7-A638-429E-B9C3-3CF136ADD069}" type="datetime'''''''''''''''''''''''3''''''''''''''''''1'''''''''''''''''''">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31</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28" name="Text Placeholder 2">
            <a:extLst>
              <a:ext uri="{FF2B5EF4-FFF2-40B4-BE49-F238E27FC236}">
                <a16:creationId xmlns:a16="http://schemas.microsoft.com/office/drawing/2014/main" id="{8A2E0AC1-FDC3-4820-865C-5F02376491F3}"/>
              </a:ext>
            </a:extLst>
          </p:cNvPr>
          <p:cNvSpPr>
            <a:spLocks noGrp="1"/>
          </p:cNvSpPr>
          <p:nvPr>
            <p:custDataLst>
              <p:tags r:id="rId34"/>
            </p:custDataLst>
          </p:nvPr>
        </p:nvSpPr>
        <p:spPr bwMode="gray">
          <a:xfrm>
            <a:off x="10641012" y="1779588"/>
            <a:ext cx="234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BDD0814-CF86-4AF1-AD0E-CC94BECF8DB1}" type="datetime'''''''''''''''''''''''''''4''6'''''''''''''''''''''''''''''''">
              <a:rPr lang="en-US" altLang="en-US" sz="1200">
                <a:latin typeface="EYInterstate Light" panose="02000506000000020004" pitchFamily="2" charset="0"/>
                <a:cs typeface="Arial" panose="020B0604020202020204" pitchFamily="34" charset="0"/>
                <a:sym typeface="EYInterstate Light" panose="02000506000000020004" pitchFamily="2" charset="0"/>
              </a:rPr>
              <a:pPr marL="0" indent="0" algn="ctr">
                <a:spcBef>
                  <a:spcPct val="0"/>
                </a:spcBef>
                <a:spcAft>
                  <a:spcPct val="0"/>
                </a:spcAft>
                <a:buNone/>
              </a:pPr>
              <a:t>46</a:t>
            </a:fld>
            <a:endParaRPr lang="en-US" sz="1200" dirty="0">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1412972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2EB04308-03AC-4EA1-9825-A5A26DCF922E}"/>
              </a:ext>
            </a:extLst>
          </p:cNvPr>
          <p:cNvGraphicFramePr>
            <a:graphicFrameLocks noChangeAspect="1"/>
          </p:cNvGraphicFramePr>
          <p:nvPr>
            <p:custDataLst>
              <p:tags r:id="rId1"/>
            </p:custDataLst>
            <p:extLst>
              <p:ext uri="{D42A27DB-BD31-4B8C-83A1-F6EECF244321}">
                <p14:modId xmlns:p14="http://schemas.microsoft.com/office/powerpoint/2010/main" val="73094932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7" name="Object 66" hidden="1">
                        <a:extLst>
                          <a:ext uri="{FF2B5EF4-FFF2-40B4-BE49-F238E27FC236}">
                            <a16:creationId xmlns:a16="http://schemas.microsoft.com/office/drawing/2014/main" id="{2EB04308-03AC-4EA1-9825-A5A26DCF922E}"/>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86A1A9-1076-4D55-A3FB-39FE00E7A577}"/>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err="1">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1" name="Text Placeholder 70">
            <a:extLst>
              <a:ext uri="{FF2B5EF4-FFF2-40B4-BE49-F238E27FC236}">
                <a16:creationId xmlns:a16="http://schemas.microsoft.com/office/drawing/2014/main" id="{AEA5F949-B18D-485F-BA43-0D7E63342675}"/>
              </a:ext>
            </a:extLst>
          </p:cNvPr>
          <p:cNvSpPr>
            <a:spLocks noGrp="1"/>
          </p:cNvSpPr>
          <p:nvPr>
            <p:ph type="body" sz="quarter" idx="14"/>
          </p:nvPr>
        </p:nvSpPr>
        <p:spPr/>
        <p:txBody>
          <a:bodyPr/>
          <a:lstStyle/>
          <a:p>
            <a:endParaRPr lang="en-US">
              <a:latin typeface="EYInterstate Light" panose="02000506000000020004" pitchFamily="2" charset="0"/>
              <a:sym typeface="EYInterstate Light" panose="02000506000000020004" pitchFamily="2" charset="0"/>
            </a:endParaRPr>
          </a:p>
        </p:txBody>
      </p:sp>
      <p:sp>
        <p:nvSpPr>
          <p:cNvPr id="68" name="Text Placeholder 67">
            <a:extLst>
              <a:ext uri="{FF2B5EF4-FFF2-40B4-BE49-F238E27FC236}">
                <a16:creationId xmlns:a16="http://schemas.microsoft.com/office/drawing/2014/main" id="{198613BF-D15B-41DF-A50A-0E03BDA2F06F}"/>
              </a:ext>
            </a:extLst>
          </p:cNvPr>
          <p:cNvSpPr>
            <a:spLocks noGrp="1"/>
          </p:cNvSpPr>
          <p:nvPr>
            <p:ph type="body" sz="quarter" idx="13"/>
          </p:nvPr>
        </p:nvSpPr>
        <p:spPr/>
        <p:txBody>
          <a:bodyPr/>
          <a:lstStyle/>
          <a:p>
            <a:endParaRPr lang="en-US">
              <a:latin typeface="EYInterstate Light" panose="02000506000000020004" pitchFamily="2" charset="0"/>
              <a:sym typeface="EYInterstate Light" panose="02000506000000020004" pitchFamily="2" charset="0"/>
            </a:endParaRPr>
          </a:p>
        </p:txBody>
      </p:sp>
      <p:sp>
        <p:nvSpPr>
          <p:cNvPr id="2" name="Title 1">
            <a:extLst>
              <a:ext uri="{FF2B5EF4-FFF2-40B4-BE49-F238E27FC236}">
                <a16:creationId xmlns:a16="http://schemas.microsoft.com/office/drawing/2014/main" id="{C254526A-587C-413C-A71B-F526F72B156A}"/>
              </a:ext>
            </a:extLst>
          </p:cNvPr>
          <p:cNvSpPr>
            <a:spLocks noGrp="1"/>
          </p:cNvSpPr>
          <p:nvPr>
            <p:ph type="title"/>
          </p:nvPr>
        </p:nvSpPr>
        <p:spPr/>
        <p:txBody>
          <a:bodyPr vert="horz"/>
          <a:lstStyle/>
          <a:p>
            <a:r>
              <a:rPr lang="en-US" dirty="0">
                <a:latin typeface="EYInterstate Light" panose="02000506000000020004" pitchFamily="2" charset="0"/>
                <a:sym typeface="EYInterstate Light" panose="02000506000000020004" pitchFamily="2" charset="0"/>
              </a:rPr>
              <a:t>Outline illustrations</a:t>
            </a:r>
          </a:p>
        </p:txBody>
      </p:sp>
      <p:sp>
        <p:nvSpPr>
          <p:cNvPr id="51" name="Text Placeholder 50">
            <a:extLst>
              <a:ext uri="{FF2B5EF4-FFF2-40B4-BE49-F238E27FC236}">
                <a16:creationId xmlns:a16="http://schemas.microsoft.com/office/drawing/2014/main" id="{1DB1F561-DEB1-40DC-9257-B5B94CC7E3F9}"/>
              </a:ext>
            </a:extLst>
          </p:cNvPr>
          <p:cNvSpPr>
            <a:spLocks noGrp="1"/>
          </p:cNvSpPr>
          <p:nvPr>
            <p:ph type="body" sz="quarter" idx="12"/>
          </p:nvPr>
        </p:nvSpPr>
        <p:spPr>
          <a:xfrm>
            <a:off x="612648" y="80267"/>
            <a:ext cx="5495942" cy="184666"/>
          </a:xfrm>
        </p:spPr>
        <p:txBody>
          <a:bodyPr/>
          <a:lstStyle/>
          <a:p>
            <a:endParaRPr lang="en-US">
              <a:latin typeface="EYInterstate Light" panose="02000506000000020004" pitchFamily="2" charset="0"/>
              <a:sym typeface="EYInterstate Light" panose="02000506000000020004" pitchFamily="2" charset="0"/>
            </a:endParaRPr>
          </a:p>
        </p:txBody>
      </p:sp>
      <p:sp>
        <p:nvSpPr>
          <p:cNvPr id="50" name="Text Placeholder 49">
            <a:extLst>
              <a:ext uri="{FF2B5EF4-FFF2-40B4-BE49-F238E27FC236}">
                <a16:creationId xmlns:a16="http://schemas.microsoft.com/office/drawing/2014/main" id="{BFB40C61-F471-4845-BD3D-6E705AFBB226}"/>
              </a:ext>
            </a:extLst>
          </p:cNvPr>
          <p:cNvSpPr>
            <a:spLocks noGrp="1"/>
          </p:cNvSpPr>
          <p:nvPr>
            <p:ph type="body" sz="quarter" idx="11"/>
          </p:nvPr>
        </p:nvSpPr>
        <p:spPr/>
        <p:txBody>
          <a:bodyPr/>
          <a:lstStyle/>
          <a:p>
            <a:endParaRPr lang="en-US" sz="800">
              <a:latin typeface="EYInterstate Light" panose="02000506000000020004" pitchFamily="2" charset="0"/>
              <a:sym typeface="EYInterstate Light" panose="02000506000000020004" pitchFamily="2" charset="0"/>
            </a:endParaRPr>
          </a:p>
        </p:txBody>
      </p:sp>
      <p:grpSp>
        <p:nvGrpSpPr>
          <p:cNvPr id="7" name="Group 4">
            <a:extLst>
              <a:ext uri="{FF2B5EF4-FFF2-40B4-BE49-F238E27FC236}">
                <a16:creationId xmlns:a16="http://schemas.microsoft.com/office/drawing/2014/main" id="{646D850E-F8A5-4302-A798-903C5FC20390}"/>
              </a:ext>
            </a:extLst>
          </p:cNvPr>
          <p:cNvGrpSpPr>
            <a:grpSpLocks noChangeAspect="1"/>
          </p:cNvGrpSpPr>
          <p:nvPr/>
        </p:nvGrpSpPr>
        <p:grpSpPr bwMode="black">
          <a:xfrm>
            <a:off x="1088155" y="2254297"/>
            <a:ext cx="1498779" cy="1441449"/>
            <a:chOff x="867" y="1844"/>
            <a:chExt cx="732" cy="704"/>
          </a:xfrm>
          <a:solidFill>
            <a:schemeClr val="bg1"/>
          </a:solidFill>
        </p:grpSpPr>
        <p:sp>
          <p:nvSpPr>
            <p:cNvPr id="8" name="Freeform 5">
              <a:extLst>
                <a:ext uri="{FF2B5EF4-FFF2-40B4-BE49-F238E27FC236}">
                  <a16:creationId xmlns:a16="http://schemas.microsoft.com/office/drawing/2014/main" id="{B7EB3E88-D9A4-4212-91A1-5D47B80A8D0D}"/>
                </a:ext>
              </a:extLst>
            </p:cNvPr>
            <p:cNvSpPr>
              <a:spLocks/>
            </p:cNvSpPr>
            <p:nvPr/>
          </p:nvSpPr>
          <p:spPr bwMode="black">
            <a:xfrm>
              <a:off x="1099" y="2156"/>
              <a:ext cx="500" cy="392"/>
            </a:xfrm>
            <a:custGeom>
              <a:avLst/>
              <a:gdLst>
                <a:gd name="T0" fmla="*/ 406 w 500"/>
                <a:gd name="T1" fmla="*/ 392 h 392"/>
                <a:gd name="T2" fmla="*/ 398 w 500"/>
                <a:gd name="T3" fmla="*/ 390 h 392"/>
                <a:gd name="T4" fmla="*/ 330 w 500"/>
                <a:gd name="T5" fmla="*/ 318 h 392"/>
                <a:gd name="T6" fmla="*/ 280 w 500"/>
                <a:gd name="T7" fmla="*/ 330 h 392"/>
                <a:gd name="T8" fmla="*/ 230 w 500"/>
                <a:gd name="T9" fmla="*/ 334 h 392"/>
                <a:gd name="T10" fmla="*/ 196 w 500"/>
                <a:gd name="T11" fmla="*/ 332 h 392"/>
                <a:gd name="T12" fmla="*/ 130 w 500"/>
                <a:gd name="T13" fmla="*/ 318 h 392"/>
                <a:gd name="T14" fmla="*/ 70 w 500"/>
                <a:gd name="T15" fmla="*/ 294 h 392"/>
                <a:gd name="T16" fmla="*/ 22 w 500"/>
                <a:gd name="T17" fmla="*/ 256 h 392"/>
                <a:gd name="T18" fmla="*/ 2 w 500"/>
                <a:gd name="T19" fmla="*/ 234 h 392"/>
                <a:gd name="T20" fmla="*/ 0 w 500"/>
                <a:gd name="T21" fmla="*/ 226 h 392"/>
                <a:gd name="T22" fmla="*/ 2 w 500"/>
                <a:gd name="T23" fmla="*/ 220 h 392"/>
                <a:gd name="T24" fmla="*/ 6 w 500"/>
                <a:gd name="T25" fmla="*/ 220 h 392"/>
                <a:gd name="T26" fmla="*/ 12 w 500"/>
                <a:gd name="T27" fmla="*/ 220 h 392"/>
                <a:gd name="T28" fmla="*/ 16 w 500"/>
                <a:gd name="T29" fmla="*/ 222 h 392"/>
                <a:gd name="T30" fmla="*/ 56 w 500"/>
                <a:gd name="T31" fmla="*/ 262 h 392"/>
                <a:gd name="T32" fmla="*/ 106 w 500"/>
                <a:gd name="T33" fmla="*/ 292 h 392"/>
                <a:gd name="T34" fmla="*/ 166 w 500"/>
                <a:gd name="T35" fmla="*/ 310 h 392"/>
                <a:gd name="T36" fmla="*/ 230 w 500"/>
                <a:gd name="T37" fmla="*/ 316 h 392"/>
                <a:gd name="T38" fmla="*/ 256 w 500"/>
                <a:gd name="T39" fmla="*/ 316 h 392"/>
                <a:gd name="T40" fmla="*/ 306 w 500"/>
                <a:gd name="T41" fmla="*/ 306 h 392"/>
                <a:gd name="T42" fmla="*/ 330 w 500"/>
                <a:gd name="T43" fmla="*/ 300 h 392"/>
                <a:gd name="T44" fmla="*/ 338 w 500"/>
                <a:gd name="T45" fmla="*/ 302 h 392"/>
                <a:gd name="T46" fmla="*/ 392 w 500"/>
                <a:gd name="T47" fmla="*/ 274 h 392"/>
                <a:gd name="T48" fmla="*/ 394 w 500"/>
                <a:gd name="T49" fmla="*/ 270 h 392"/>
                <a:gd name="T50" fmla="*/ 396 w 500"/>
                <a:gd name="T51" fmla="*/ 266 h 392"/>
                <a:gd name="T52" fmla="*/ 432 w 500"/>
                <a:gd name="T53" fmla="*/ 236 h 392"/>
                <a:gd name="T54" fmla="*/ 460 w 500"/>
                <a:gd name="T55" fmla="*/ 200 h 392"/>
                <a:gd name="T56" fmla="*/ 476 w 500"/>
                <a:gd name="T57" fmla="*/ 162 h 392"/>
                <a:gd name="T58" fmla="*/ 482 w 500"/>
                <a:gd name="T59" fmla="*/ 120 h 392"/>
                <a:gd name="T60" fmla="*/ 480 w 500"/>
                <a:gd name="T61" fmla="*/ 106 h 392"/>
                <a:gd name="T62" fmla="*/ 476 w 500"/>
                <a:gd name="T63" fmla="*/ 78 h 392"/>
                <a:gd name="T64" fmla="*/ 466 w 500"/>
                <a:gd name="T65" fmla="*/ 52 h 392"/>
                <a:gd name="T66" fmla="*/ 450 w 500"/>
                <a:gd name="T67" fmla="*/ 26 h 392"/>
                <a:gd name="T68" fmla="*/ 442 w 500"/>
                <a:gd name="T69" fmla="*/ 14 h 392"/>
                <a:gd name="T70" fmla="*/ 440 w 500"/>
                <a:gd name="T71" fmla="*/ 8 h 392"/>
                <a:gd name="T72" fmla="*/ 442 w 500"/>
                <a:gd name="T73" fmla="*/ 2 h 392"/>
                <a:gd name="T74" fmla="*/ 446 w 500"/>
                <a:gd name="T75" fmla="*/ 0 h 392"/>
                <a:gd name="T76" fmla="*/ 452 w 500"/>
                <a:gd name="T77" fmla="*/ 0 h 392"/>
                <a:gd name="T78" fmla="*/ 456 w 500"/>
                <a:gd name="T79" fmla="*/ 2 h 392"/>
                <a:gd name="T80" fmla="*/ 474 w 500"/>
                <a:gd name="T81" fmla="*/ 30 h 392"/>
                <a:gd name="T82" fmla="*/ 488 w 500"/>
                <a:gd name="T83" fmla="*/ 58 h 392"/>
                <a:gd name="T84" fmla="*/ 496 w 500"/>
                <a:gd name="T85" fmla="*/ 88 h 392"/>
                <a:gd name="T86" fmla="*/ 500 w 500"/>
                <a:gd name="T87" fmla="*/ 120 h 392"/>
                <a:gd name="T88" fmla="*/ 498 w 500"/>
                <a:gd name="T89" fmla="*/ 142 h 392"/>
                <a:gd name="T90" fmla="*/ 486 w 500"/>
                <a:gd name="T91" fmla="*/ 186 h 392"/>
                <a:gd name="T92" fmla="*/ 464 w 500"/>
                <a:gd name="T93" fmla="*/ 226 h 392"/>
                <a:gd name="T94" fmla="*/ 430 w 500"/>
                <a:gd name="T95" fmla="*/ 262 h 392"/>
                <a:gd name="T96" fmla="*/ 414 w 500"/>
                <a:gd name="T97" fmla="*/ 382 h 392"/>
                <a:gd name="T98" fmla="*/ 412 w 500"/>
                <a:gd name="T99" fmla="*/ 388 h 392"/>
                <a:gd name="T100" fmla="*/ 408 w 500"/>
                <a:gd name="T101" fmla="*/ 392 h 392"/>
                <a:gd name="T102" fmla="*/ 406 w 500"/>
                <a:gd name="T103"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0" h="392">
                  <a:moveTo>
                    <a:pt x="406" y="392"/>
                  </a:moveTo>
                  <a:lnTo>
                    <a:pt x="406" y="392"/>
                  </a:lnTo>
                  <a:lnTo>
                    <a:pt x="402" y="392"/>
                  </a:lnTo>
                  <a:lnTo>
                    <a:pt x="398" y="390"/>
                  </a:lnTo>
                  <a:lnTo>
                    <a:pt x="330" y="318"/>
                  </a:lnTo>
                  <a:lnTo>
                    <a:pt x="330" y="318"/>
                  </a:lnTo>
                  <a:lnTo>
                    <a:pt x="306" y="326"/>
                  </a:lnTo>
                  <a:lnTo>
                    <a:pt x="280" y="330"/>
                  </a:lnTo>
                  <a:lnTo>
                    <a:pt x="256" y="334"/>
                  </a:lnTo>
                  <a:lnTo>
                    <a:pt x="230" y="334"/>
                  </a:lnTo>
                  <a:lnTo>
                    <a:pt x="230" y="334"/>
                  </a:lnTo>
                  <a:lnTo>
                    <a:pt x="196" y="332"/>
                  </a:lnTo>
                  <a:lnTo>
                    <a:pt x="162" y="328"/>
                  </a:lnTo>
                  <a:lnTo>
                    <a:pt x="130" y="318"/>
                  </a:lnTo>
                  <a:lnTo>
                    <a:pt x="100" y="308"/>
                  </a:lnTo>
                  <a:lnTo>
                    <a:pt x="70" y="294"/>
                  </a:lnTo>
                  <a:lnTo>
                    <a:pt x="44" y="276"/>
                  </a:lnTo>
                  <a:lnTo>
                    <a:pt x="22" y="256"/>
                  </a:lnTo>
                  <a:lnTo>
                    <a:pt x="2" y="234"/>
                  </a:lnTo>
                  <a:lnTo>
                    <a:pt x="2" y="234"/>
                  </a:lnTo>
                  <a:lnTo>
                    <a:pt x="0" y="230"/>
                  </a:lnTo>
                  <a:lnTo>
                    <a:pt x="0" y="226"/>
                  </a:lnTo>
                  <a:lnTo>
                    <a:pt x="0" y="224"/>
                  </a:lnTo>
                  <a:lnTo>
                    <a:pt x="2" y="220"/>
                  </a:lnTo>
                  <a:lnTo>
                    <a:pt x="2" y="220"/>
                  </a:lnTo>
                  <a:lnTo>
                    <a:pt x="6" y="220"/>
                  </a:lnTo>
                  <a:lnTo>
                    <a:pt x="10" y="220"/>
                  </a:lnTo>
                  <a:lnTo>
                    <a:pt x="12" y="220"/>
                  </a:lnTo>
                  <a:lnTo>
                    <a:pt x="16" y="222"/>
                  </a:lnTo>
                  <a:lnTo>
                    <a:pt x="16" y="222"/>
                  </a:lnTo>
                  <a:lnTo>
                    <a:pt x="34" y="244"/>
                  </a:lnTo>
                  <a:lnTo>
                    <a:pt x="56" y="262"/>
                  </a:lnTo>
                  <a:lnTo>
                    <a:pt x="80" y="278"/>
                  </a:lnTo>
                  <a:lnTo>
                    <a:pt x="106" y="292"/>
                  </a:lnTo>
                  <a:lnTo>
                    <a:pt x="136" y="302"/>
                  </a:lnTo>
                  <a:lnTo>
                    <a:pt x="166" y="310"/>
                  </a:lnTo>
                  <a:lnTo>
                    <a:pt x="198" y="314"/>
                  </a:lnTo>
                  <a:lnTo>
                    <a:pt x="230" y="316"/>
                  </a:lnTo>
                  <a:lnTo>
                    <a:pt x="230" y="316"/>
                  </a:lnTo>
                  <a:lnTo>
                    <a:pt x="256" y="316"/>
                  </a:lnTo>
                  <a:lnTo>
                    <a:pt x="280" y="312"/>
                  </a:lnTo>
                  <a:lnTo>
                    <a:pt x="306" y="306"/>
                  </a:lnTo>
                  <a:lnTo>
                    <a:pt x="330" y="300"/>
                  </a:lnTo>
                  <a:lnTo>
                    <a:pt x="330" y="300"/>
                  </a:lnTo>
                  <a:lnTo>
                    <a:pt x="334" y="300"/>
                  </a:lnTo>
                  <a:lnTo>
                    <a:pt x="338" y="302"/>
                  </a:lnTo>
                  <a:lnTo>
                    <a:pt x="396" y="360"/>
                  </a:lnTo>
                  <a:lnTo>
                    <a:pt x="392" y="274"/>
                  </a:lnTo>
                  <a:lnTo>
                    <a:pt x="392" y="274"/>
                  </a:lnTo>
                  <a:lnTo>
                    <a:pt x="394" y="270"/>
                  </a:lnTo>
                  <a:lnTo>
                    <a:pt x="396" y="266"/>
                  </a:lnTo>
                  <a:lnTo>
                    <a:pt x="396" y="266"/>
                  </a:lnTo>
                  <a:lnTo>
                    <a:pt x="416" y="252"/>
                  </a:lnTo>
                  <a:lnTo>
                    <a:pt x="432" y="236"/>
                  </a:lnTo>
                  <a:lnTo>
                    <a:pt x="446" y="218"/>
                  </a:lnTo>
                  <a:lnTo>
                    <a:pt x="460" y="200"/>
                  </a:lnTo>
                  <a:lnTo>
                    <a:pt x="468" y="182"/>
                  </a:lnTo>
                  <a:lnTo>
                    <a:pt x="476" y="162"/>
                  </a:lnTo>
                  <a:lnTo>
                    <a:pt x="480" y="140"/>
                  </a:lnTo>
                  <a:lnTo>
                    <a:pt x="482" y="120"/>
                  </a:lnTo>
                  <a:lnTo>
                    <a:pt x="482" y="120"/>
                  </a:lnTo>
                  <a:lnTo>
                    <a:pt x="480" y="106"/>
                  </a:lnTo>
                  <a:lnTo>
                    <a:pt x="478" y="92"/>
                  </a:lnTo>
                  <a:lnTo>
                    <a:pt x="476" y="78"/>
                  </a:lnTo>
                  <a:lnTo>
                    <a:pt x="472" y="64"/>
                  </a:lnTo>
                  <a:lnTo>
                    <a:pt x="466" y="52"/>
                  </a:lnTo>
                  <a:lnTo>
                    <a:pt x="458" y="38"/>
                  </a:lnTo>
                  <a:lnTo>
                    <a:pt x="450" y="26"/>
                  </a:lnTo>
                  <a:lnTo>
                    <a:pt x="442" y="14"/>
                  </a:lnTo>
                  <a:lnTo>
                    <a:pt x="442" y="14"/>
                  </a:lnTo>
                  <a:lnTo>
                    <a:pt x="440" y="10"/>
                  </a:lnTo>
                  <a:lnTo>
                    <a:pt x="440" y="8"/>
                  </a:lnTo>
                  <a:lnTo>
                    <a:pt x="440" y="4"/>
                  </a:lnTo>
                  <a:lnTo>
                    <a:pt x="442" y="2"/>
                  </a:lnTo>
                  <a:lnTo>
                    <a:pt x="442" y="2"/>
                  </a:lnTo>
                  <a:lnTo>
                    <a:pt x="446" y="0"/>
                  </a:lnTo>
                  <a:lnTo>
                    <a:pt x="448" y="0"/>
                  </a:lnTo>
                  <a:lnTo>
                    <a:pt x="452" y="0"/>
                  </a:lnTo>
                  <a:lnTo>
                    <a:pt x="456" y="2"/>
                  </a:lnTo>
                  <a:lnTo>
                    <a:pt x="456" y="2"/>
                  </a:lnTo>
                  <a:lnTo>
                    <a:pt x="466" y="16"/>
                  </a:lnTo>
                  <a:lnTo>
                    <a:pt x="474" y="30"/>
                  </a:lnTo>
                  <a:lnTo>
                    <a:pt x="482" y="44"/>
                  </a:lnTo>
                  <a:lnTo>
                    <a:pt x="488" y="58"/>
                  </a:lnTo>
                  <a:lnTo>
                    <a:pt x="492" y="74"/>
                  </a:lnTo>
                  <a:lnTo>
                    <a:pt x="496" y="88"/>
                  </a:lnTo>
                  <a:lnTo>
                    <a:pt x="498" y="104"/>
                  </a:lnTo>
                  <a:lnTo>
                    <a:pt x="500" y="120"/>
                  </a:lnTo>
                  <a:lnTo>
                    <a:pt x="500" y="120"/>
                  </a:lnTo>
                  <a:lnTo>
                    <a:pt x="498" y="142"/>
                  </a:lnTo>
                  <a:lnTo>
                    <a:pt x="494" y="164"/>
                  </a:lnTo>
                  <a:lnTo>
                    <a:pt x="486" y="186"/>
                  </a:lnTo>
                  <a:lnTo>
                    <a:pt x="476" y="206"/>
                  </a:lnTo>
                  <a:lnTo>
                    <a:pt x="464" y="226"/>
                  </a:lnTo>
                  <a:lnTo>
                    <a:pt x="448" y="244"/>
                  </a:lnTo>
                  <a:lnTo>
                    <a:pt x="430" y="262"/>
                  </a:lnTo>
                  <a:lnTo>
                    <a:pt x="410" y="278"/>
                  </a:lnTo>
                  <a:lnTo>
                    <a:pt x="414" y="382"/>
                  </a:lnTo>
                  <a:lnTo>
                    <a:pt x="414" y="382"/>
                  </a:lnTo>
                  <a:lnTo>
                    <a:pt x="412" y="388"/>
                  </a:lnTo>
                  <a:lnTo>
                    <a:pt x="408" y="392"/>
                  </a:lnTo>
                  <a:lnTo>
                    <a:pt x="408" y="392"/>
                  </a:lnTo>
                  <a:lnTo>
                    <a:pt x="406" y="392"/>
                  </a:lnTo>
                  <a:lnTo>
                    <a:pt x="406" y="392"/>
                  </a:lnTo>
                  <a:close/>
                </a:path>
              </a:pathLst>
            </a:custGeom>
            <a:solidFill>
              <a:srgbClr val="1A9AFA"/>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 name="Freeform 6">
              <a:extLst>
                <a:ext uri="{FF2B5EF4-FFF2-40B4-BE49-F238E27FC236}">
                  <a16:creationId xmlns:a16="http://schemas.microsoft.com/office/drawing/2014/main" id="{7A12CC4E-102E-42DF-AEE6-28623BA6C52D}"/>
                </a:ext>
              </a:extLst>
            </p:cNvPr>
            <p:cNvSpPr>
              <a:spLocks noEditPoints="1"/>
            </p:cNvSpPr>
            <p:nvPr/>
          </p:nvSpPr>
          <p:spPr bwMode="black">
            <a:xfrm>
              <a:off x="867" y="1844"/>
              <a:ext cx="654" cy="594"/>
            </a:xfrm>
            <a:custGeom>
              <a:avLst/>
              <a:gdLst>
                <a:gd name="T0" fmla="*/ 110 w 654"/>
                <a:gd name="T1" fmla="*/ 594 h 594"/>
                <a:gd name="T2" fmla="*/ 104 w 654"/>
                <a:gd name="T3" fmla="*/ 586 h 594"/>
                <a:gd name="T4" fmla="*/ 84 w 654"/>
                <a:gd name="T5" fmla="*/ 432 h 594"/>
                <a:gd name="T6" fmla="*/ 28 w 654"/>
                <a:gd name="T7" fmla="*/ 364 h 594"/>
                <a:gd name="T8" fmla="*/ 2 w 654"/>
                <a:gd name="T9" fmla="*/ 286 h 594"/>
                <a:gd name="T10" fmla="*/ 2 w 654"/>
                <a:gd name="T11" fmla="*/ 234 h 594"/>
                <a:gd name="T12" fmla="*/ 26 w 654"/>
                <a:gd name="T13" fmla="*/ 158 h 594"/>
                <a:gd name="T14" fmla="*/ 76 w 654"/>
                <a:gd name="T15" fmla="*/ 96 h 594"/>
                <a:gd name="T16" fmla="*/ 146 w 654"/>
                <a:gd name="T17" fmla="*/ 46 h 594"/>
                <a:gd name="T18" fmla="*/ 230 w 654"/>
                <a:gd name="T19" fmla="*/ 12 h 594"/>
                <a:gd name="T20" fmla="*/ 328 w 654"/>
                <a:gd name="T21" fmla="*/ 0 h 594"/>
                <a:gd name="T22" fmla="*/ 394 w 654"/>
                <a:gd name="T23" fmla="*/ 6 h 594"/>
                <a:gd name="T24" fmla="*/ 484 w 654"/>
                <a:gd name="T25" fmla="*/ 32 h 594"/>
                <a:gd name="T26" fmla="*/ 558 w 654"/>
                <a:gd name="T27" fmla="*/ 76 h 594"/>
                <a:gd name="T28" fmla="*/ 616 w 654"/>
                <a:gd name="T29" fmla="*/ 136 h 594"/>
                <a:gd name="T30" fmla="*/ 648 w 654"/>
                <a:gd name="T31" fmla="*/ 208 h 594"/>
                <a:gd name="T32" fmla="*/ 654 w 654"/>
                <a:gd name="T33" fmla="*/ 260 h 594"/>
                <a:gd name="T34" fmla="*/ 640 w 654"/>
                <a:gd name="T35" fmla="*/ 336 h 594"/>
                <a:gd name="T36" fmla="*/ 598 w 654"/>
                <a:gd name="T37" fmla="*/ 404 h 594"/>
                <a:gd name="T38" fmla="*/ 536 w 654"/>
                <a:gd name="T39" fmla="*/ 458 h 594"/>
                <a:gd name="T40" fmla="*/ 454 w 654"/>
                <a:gd name="T41" fmla="*/ 498 h 594"/>
                <a:gd name="T42" fmla="*/ 362 w 654"/>
                <a:gd name="T43" fmla="*/ 516 h 594"/>
                <a:gd name="T44" fmla="*/ 298 w 654"/>
                <a:gd name="T45" fmla="*/ 516 h 594"/>
                <a:gd name="T46" fmla="*/ 208 w 654"/>
                <a:gd name="T47" fmla="*/ 500 h 594"/>
                <a:gd name="T48" fmla="*/ 116 w 654"/>
                <a:gd name="T49" fmla="*/ 594 h 594"/>
                <a:gd name="T50" fmla="*/ 328 w 654"/>
                <a:gd name="T51" fmla="*/ 18 h 594"/>
                <a:gd name="T52" fmla="*/ 266 w 654"/>
                <a:gd name="T53" fmla="*/ 24 h 594"/>
                <a:gd name="T54" fmla="*/ 180 w 654"/>
                <a:gd name="T55" fmla="*/ 48 h 594"/>
                <a:gd name="T56" fmla="*/ 110 w 654"/>
                <a:gd name="T57" fmla="*/ 90 h 594"/>
                <a:gd name="T58" fmla="*/ 56 w 654"/>
                <a:gd name="T59" fmla="*/ 144 h 594"/>
                <a:gd name="T60" fmla="*/ 24 w 654"/>
                <a:gd name="T61" fmla="*/ 212 h 594"/>
                <a:gd name="T62" fmla="*/ 18 w 654"/>
                <a:gd name="T63" fmla="*/ 260 h 594"/>
                <a:gd name="T64" fmla="*/ 34 w 654"/>
                <a:gd name="T65" fmla="*/ 334 h 594"/>
                <a:gd name="T66" fmla="*/ 78 w 654"/>
                <a:gd name="T67" fmla="*/ 402 h 594"/>
                <a:gd name="T68" fmla="*/ 122 w 654"/>
                <a:gd name="T69" fmla="*/ 438 h 594"/>
                <a:gd name="T70" fmla="*/ 122 w 654"/>
                <a:gd name="T71" fmla="*/ 562 h 594"/>
                <a:gd name="T72" fmla="*/ 204 w 654"/>
                <a:gd name="T73" fmla="*/ 482 h 594"/>
                <a:gd name="T74" fmla="*/ 238 w 654"/>
                <a:gd name="T75" fmla="*/ 490 h 594"/>
                <a:gd name="T76" fmla="*/ 328 w 654"/>
                <a:gd name="T77" fmla="*/ 500 h 594"/>
                <a:gd name="T78" fmla="*/ 390 w 654"/>
                <a:gd name="T79" fmla="*/ 496 h 594"/>
                <a:gd name="T80" fmla="*/ 474 w 654"/>
                <a:gd name="T81" fmla="*/ 470 h 594"/>
                <a:gd name="T82" fmla="*/ 546 w 654"/>
                <a:gd name="T83" fmla="*/ 430 h 594"/>
                <a:gd name="T84" fmla="*/ 600 w 654"/>
                <a:gd name="T85" fmla="*/ 374 h 594"/>
                <a:gd name="T86" fmla="*/ 630 w 654"/>
                <a:gd name="T87" fmla="*/ 308 h 594"/>
                <a:gd name="T88" fmla="*/ 636 w 654"/>
                <a:gd name="T89" fmla="*/ 260 h 594"/>
                <a:gd name="T90" fmla="*/ 622 w 654"/>
                <a:gd name="T91" fmla="*/ 188 h 594"/>
                <a:gd name="T92" fmla="*/ 584 w 654"/>
                <a:gd name="T93" fmla="*/ 126 h 594"/>
                <a:gd name="T94" fmla="*/ 524 w 654"/>
                <a:gd name="T95" fmla="*/ 74 h 594"/>
                <a:gd name="T96" fmla="*/ 448 w 654"/>
                <a:gd name="T97" fmla="*/ 38 h 594"/>
                <a:gd name="T98" fmla="*/ 360 w 654"/>
                <a:gd name="T99" fmla="*/ 2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4" h="594">
                  <a:moveTo>
                    <a:pt x="112" y="594"/>
                  </a:moveTo>
                  <a:lnTo>
                    <a:pt x="112" y="594"/>
                  </a:lnTo>
                  <a:lnTo>
                    <a:pt x="110" y="594"/>
                  </a:lnTo>
                  <a:lnTo>
                    <a:pt x="110" y="594"/>
                  </a:lnTo>
                  <a:lnTo>
                    <a:pt x="106" y="590"/>
                  </a:lnTo>
                  <a:lnTo>
                    <a:pt x="104" y="586"/>
                  </a:lnTo>
                  <a:lnTo>
                    <a:pt x="108" y="450"/>
                  </a:lnTo>
                  <a:lnTo>
                    <a:pt x="108" y="450"/>
                  </a:lnTo>
                  <a:lnTo>
                    <a:pt x="84" y="432"/>
                  </a:lnTo>
                  <a:lnTo>
                    <a:pt x="62" y="410"/>
                  </a:lnTo>
                  <a:lnTo>
                    <a:pt x="44" y="388"/>
                  </a:lnTo>
                  <a:lnTo>
                    <a:pt x="28" y="364"/>
                  </a:lnTo>
                  <a:lnTo>
                    <a:pt x="16" y="340"/>
                  </a:lnTo>
                  <a:lnTo>
                    <a:pt x="8" y="314"/>
                  </a:lnTo>
                  <a:lnTo>
                    <a:pt x="2" y="286"/>
                  </a:lnTo>
                  <a:lnTo>
                    <a:pt x="0" y="260"/>
                  </a:lnTo>
                  <a:lnTo>
                    <a:pt x="0" y="260"/>
                  </a:lnTo>
                  <a:lnTo>
                    <a:pt x="2" y="234"/>
                  </a:lnTo>
                  <a:lnTo>
                    <a:pt x="8" y="208"/>
                  </a:lnTo>
                  <a:lnTo>
                    <a:pt x="16" y="182"/>
                  </a:lnTo>
                  <a:lnTo>
                    <a:pt x="26" y="158"/>
                  </a:lnTo>
                  <a:lnTo>
                    <a:pt x="40" y="136"/>
                  </a:lnTo>
                  <a:lnTo>
                    <a:pt x="56" y="114"/>
                  </a:lnTo>
                  <a:lnTo>
                    <a:pt x="76" y="96"/>
                  </a:lnTo>
                  <a:lnTo>
                    <a:pt x="96" y="76"/>
                  </a:lnTo>
                  <a:lnTo>
                    <a:pt x="120" y="60"/>
                  </a:lnTo>
                  <a:lnTo>
                    <a:pt x="146" y="46"/>
                  </a:lnTo>
                  <a:lnTo>
                    <a:pt x="172" y="32"/>
                  </a:lnTo>
                  <a:lnTo>
                    <a:pt x="200" y="22"/>
                  </a:lnTo>
                  <a:lnTo>
                    <a:pt x="230" y="12"/>
                  </a:lnTo>
                  <a:lnTo>
                    <a:pt x="262" y="6"/>
                  </a:lnTo>
                  <a:lnTo>
                    <a:pt x="294" y="2"/>
                  </a:lnTo>
                  <a:lnTo>
                    <a:pt x="328" y="0"/>
                  </a:lnTo>
                  <a:lnTo>
                    <a:pt x="328" y="0"/>
                  </a:lnTo>
                  <a:lnTo>
                    <a:pt x="362" y="2"/>
                  </a:lnTo>
                  <a:lnTo>
                    <a:pt x="394" y="6"/>
                  </a:lnTo>
                  <a:lnTo>
                    <a:pt x="424" y="12"/>
                  </a:lnTo>
                  <a:lnTo>
                    <a:pt x="454" y="22"/>
                  </a:lnTo>
                  <a:lnTo>
                    <a:pt x="484" y="32"/>
                  </a:lnTo>
                  <a:lnTo>
                    <a:pt x="510" y="46"/>
                  </a:lnTo>
                  <a:lnTo>
                    <a:pt x="536" y="60"/>
                  </a:lnTo>
                  <a:lnTo>
                    <a:pt x="558" y="76"/>
                  </a:lnTo>
                  <a:lnTo>
                    <a:pt x="580" y="96"/>
                  </a:lnTo>
                  <a:lnTo>
                    <a:pt x="598" y="114"/>
                  </a:lnTo>
                  <a:lnTo>
                    <a:pt x="616" y="136"/>
                  </a:lnTo>
                  <a:lnTo>
                    <a:pt x="628" y="158"/>
                  </a:lnTo>
                  <a:lnTo>
                    <a:pt x="640" y="182"/>
                  </a:lnTo>
                  <a:lnTo>
                    <a:pt x="648" y="208"/>
                  </a:lnTo>
                  <a:lnTo>
                    <a:pt x="654" y="234"/>
                  </a:lnTo>
                  <a:lnTo>
                    <a:pt x="654" y="260"/>
                  </a:lnTo>
                  <a:lnTo>
                    <a:pt x="654" y="260"/>
                  </a:lnTo>
                  <a:lnTo>
                    <a:pt x="654" y="286"/>
                  </a:lnTo>
                  <a:lnTo>
                    <a:pt x="648" y="312"/>
                  </a:lnTo>
                  <a:lnTo>
                    <a:pt x="640" y="336"/>
                  </a:lnTo>
                  <a:lnTo>
                    <a:pt x="628" y="360"/>
                  </a:lnTo>
                  <a:lnTo>
                    <a:pt x="616" y="382"/>
                  </a:lnTo>
                  <a:lnTo>
                    <a:pt x="598" y="404"/>
                  </a:lnTo>
                  <a:lnTo>
                    <a:pt x="580" y="424"/>
                  </a:lnTo>
                  <a:lnTo>
                    <a:pt x="558" y="442"/>
                  </a:lnTo>
                  <a:lnTo>
                    <a:pt x="536" y="458"/>
                  </a:lnTo>
                  <a:lnTo>
                    <a:pt x="510" y="474"/>
                  </a:lnTo>
                  <a:lnTo>
                    <a:pt x="484" y="486"/>
                  </a:lnTo>
                  <a:lnTo>
                    <a:pt x="454" y="498"/>
                  </a:lnTo>
                  <a:lnTo>
                    <a:pt x="424" y="506"/>
                  </a:lnTo>
                  <a:lnTo>
                    <a:pt x="394" y="512"/>
                  </a:lnTo>
                  <a:lnTo>
                    <a:pt x="362" y="516"/>
                  </a:lnTo>
                  <a:lnTo>
                    <a:pt x="328" y="518"/>
                  </a:lnTo>
                  <a:lnTo>
                    <a:pt x="328" y="518"/>
                  </a:lnTo>
                  <a:lnTo>
                    <a:pt x="298" y="516"/>
                  </a:lnTo>
                  <a:lnTo>
                    <a:pt x="268" y="514"/>
                  </a:lnTo>
                  <a:lnTo>
                    <a:pt x="238" y="508"/>
                  </a:lnTo>
                  <a:lnTo>
                    <a:pt x="208" y="500"/>
                  </a:lnTo>
                  <a:lnTo>
                    <a:pt x="120" y="592"/>
                  </a:lnTo>
                  <a:lnTo>
                    <a:pt x="120" y="592"/>
                  </a:lnTo>
                  <a:lnTo>
                    <a:pt x="116" y="594"/>
                  </a:lnTo>
                  <a:lnTo>
                    <a:pt x="112" y="594"/>
                  </a:lnTo>
                  <a:lnTo>
                    <a:pt x="112" y="594"/>
                  </a:lnTo>
                  <a:close/>
                  <a:moveTo>
                    <a:pt x="328" y="18"/>
                  </a:moveTo>
                  <a:lnTo>
                    <a:pt x="328" y="18"/>
                  </a:lnTo>
                  <a:lnTo>
                    <a:pt x="296" y="20"/>
                  </a:lnTo>
                  <a:lnTo>
                    <a:pt x="266" y="24"/>
                  </a:lnTo>
                  <a:lnTo>
                    <a:pt x="236" y="30"/>
                  </a:lnTo>
                  <a:lnTo>
                    <a:pt x="208" y="38"/>
                  </a:lnTo>
                  <a:lnTo>
                    <a:pt x="180" y="48"/>
                  </a:lnTo>
                  <a:lnTo>
                    <a:pt x="156" y="60"/>
                  </a:lnTo>
                  <a:lnTo>
                    <a:pt x="132" y="74"/>
                  </a:lnTo>
                  <a:lnTo>
                    <a:pt x="110" y="90"/>
                  </a:lnTo>
                  <a:lnTo>
                    <a:pt x="90" y="106"/>
                  </a:lnTo>
                  <a:lnTo>
                    <a:pt x="72" y="126"/>
                  </a:lnTo>
                  <a:lnTo>
                    <a:pt x="56" y="144"/>
                  </a:lnTo>
                  <a:lnTo>
                    <a:pt x="44" y="166"/>
                  </a:lnTo>
                  <a:lnTo>
                    <a:pt x="32" y="188"/>
                  </a:lnTo>
                  <a:lnTo>
                    <a:pt x="24" y="212"/>
                  </a:lnTo>
                  <a:lnTo>
                    <a:pt x="20" y="234"/>
                  </a:lnTo>
                  <a:lnTo>
                    <a:pt x="18" y="260"/>
                  </a:lnTo>
                  <a:lnTo>
                    <a:pt x="18" y="260"/>
                  </a:lnTo>
                  <a:lnTo>
                    <a:pt x="20" y="284"/>
                  </a:lnTo>
                  <a:lnTo>
                    <a:pt x="26" y="310"/>
                  </a:lnTo>
                  <a:lnTo>
                    <a:pt x="34" y="334"/>
                  </a:lnTo>
                  <a:lnTo>
                    <a:pt x="46" y="358"/>
                  </a:lnTo>
                  <a:lnTo>
                    <a:pt x="60" y="380"/>
                  </a:lnTo>
                  <a:lnTo>
                    <a:pt x="78" y="402"/>
                  </a:lnTo>
                  <a:lnTo>
                    <a:pt x="100" y="420"/>
                  </a:lnTo>
                  <a:lnTo>
                    <a:pt x="122" y="438"/>
                  </a:lnTo>
                  <a:lnTo>
                    <a:pt x="122" y="438"/>
                  </a:lnTo>
                  <a:lnTo>
                    <a:pt x="126" y="442"/>
                  </a:lnTo>
                  <a:lnTo>
                    <a:pt x="126" y="446"/>
                  </a:lnTo>
                  <a:lnTo>
                    <a:pt x="122" y="562"/>
                  </a:lnTo>
                  <a:lnTo>
                    <a:pt x="200" y="484"/>
                  </a:lnTo>
                  <a:lnTo>
                    <a:pt x="200" y="484"/>
                  </a:lnTo>
                  <a:lnTo>
                    <a:pt x="204" y="482"/>
                  </a:lnTo>
                  <a:lnTo>
                    <a:pt x="208" y="482"/>
                  </a:lnTo>
                  <a:lnTo>
                    <a:pt x="208" y="482"/>
                  </a:lnTo>
                  <a:lnTo>
                    <a:pt x="238" y="490"/>
                  </a:lnTo>
                  <a:lnTo>
                    <a:pt x="268" y="496"/>
                  </a:lnTo>
                  <a:lnTo>
                    <a:pt x="298" y="498"/>
                  </a:lnTo>
                  <a:lnTo>
                    <a:pt x="328" y="500"/>
                  </a:lnTo>
                  <a:lnTo>
                    <a:pt x="328" y="500"/>
                  </a:lnTo>
                  <a:lnTo>
                    <a:pt x="360" y="498"/>
                  </a:lnTo>
                  <a:lnTo>
                    <a:pt x="390" y="496"/>
                  </a:lnTo>
                  <a:lnTo>
                    <a:pt x="420" y="490"/>
                  </a:lnTo>
                  <a:lnTo>
                    <a:pt x="448" y="482"/>
                  </a:lnTo>
                  <a:lnTo>
                    <a:pt x="474" y="470"/>
                  </a:lnTo>
                  <a:lnTo>
                    <a:pt x="500" y="458"/>
                  </a:lnTo>
                  <a:lnTo>
                    <a:pt x="524" y="446"/>
                  </a:lnTo>
                  <a:lnTo>
                    <a:pt x="546" y="430"/>
                  </a:lnTo>
                  <a:lnTo>
                    <a:pt x="566" y="412"/>
                  </a:lnTo>
                  <a:lnTo>
                    <a:pt x="584" y="394"/>
                  </a:lnTo>
                  <a:lnTo>
                    <a:pt x="600" y="374"/>
                  </a:lnTo>
                  <a:lnTo>
                    <a:pt x="612" y="354"/>
                  </a:lnTo>
                  <a:lnTo>
                    <a:pt x="622" y="330"/>
                  </a:lnTo>
                  <a:lnTo>
                    <a:pt x="630" y="308"/>
                  </a:lnTo>
                  <a:lnTo>
                    <a:pt x="636" y="284"/>
                  </a:lnTo>
                  <a:lnTo>
                    <a:pt x="636" y="260"/>
                  </a:lnTo>
                  <a:lnTo>
                    <a:pt x="636" y="260"/>
                  </a:lnTo>
                  <a:lnTo>
                    <a:pt x="636" y="234"/>
                  </a:lnTo>
                  <a:lnTo>
                    <a:pt x="630" y="212"/>
                  </a:lnTo>
                  <a:lnTo>
                    <a:pt x="622" y="188"/>
                  </a:lnTo>
                  <a:lnTo>
                    <a:pt x="612" y="166"/>
                  </a:lnTo>
                  <a:lnTo>
                    <a:pt x="600" y="144"/>
                  </a:lnTo>
                  <a:lnTo>
                    <a:pt x="584" y="126"/>
                  </a:lnTo>
                  <a:lnTo>
                    <a:pt x="566" y="106"/>
                  </a:lnTo>
                  <a:lnTo>
                    <a:pt x="546" y="90"/>
                  </a:lnTo>
                  <a:lnTo>
                    <a:pt x="524" y="74"/>
                  </a:lnTo>
                  <a:lnTo>
                    <a:pt x="500" y="60"/>
                  </a:lnTo>
                  <a:lnTo>
                    <a:pt x="474" y="48"/>
                  </a:lnTo>
                  <a:lnTo>
                    <a:pt x="448" y="38"/>
                  </a:lnTo>
                  <a:lnTo>
                    <a:pt x="420" y="30"/>
                  </a:lnTo>
                  <a:lnTo>
                    <a:pt x="390" y="24"/>
                  </a:lnTo>
                  <a:lnTo>
                    <a:pt x="360" y="20"/>
                  </a:lnTo>
                  <a:lnTo>
                    <a:pt x="328" y="18"/>
                  </a:lnTo>
                  <a:lnTo>
                    <a:pt x="328" y="18"/>
                  </a:lnTo>
                  <a:close/>
                </a:path>
              </a:pathLst>
            </a:custGeom>
            <a:solidFill>
              <a:srgbClr val="1A9AFA"/>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0" name="Freeform 7">
              <a:extLst>
                <a:ext uri="{FF2B5EF4-FFF2-40B4-BE49-F238E27FC236}">
                  <a16:creationId xmlns:a16="http://schemas.microsoft.com/office/drawing/2014/main" id="{7ADB586B-E6CE-404D-9AC2-792061AB45F3}"/>
                </a:ext>
              </a:extLst>
            </p:cNvPr>
            <p:cNvSpPr>
              <a:spLocks noEditPoints="1"/>
            </p:cNvSpPr>
            <p:nvPr/>
          </p:nvSpPr>
          <p:spPr bwMode="black">
            <a:xfrm>
              <a:off x="1067" y="2070"/>
              <a:ext cx="72" cy="74"/>
            </a:xfrm>
            <a:custGeom>
              <a:avLst/>
              <a:gdLst>
                <a:gd name="T0" fmla="*/ 36 w 72"/>
                <a:gd name="T1" fmla="*/ 74 h 74"/>
                <a:gd name="T2" fmla="*/ 36 w 72"/>
                <a:gd name="T3" fmla="*/ 74 h 74"/>
                <a:gd name="T4" fmla="*/ 28 w 72"/>
                <a:gd name="T5" fmla="*/ 72 h 74"/>
                <a:gd name="T6" fmla="*/ 22 w 72"/>
                <a:gd name="T7" fmla="*/ 70 h 74"/>
                <a:gd name="T8" fmla="*/ 16 w 72"/>
                <a:gd name="T9" fmla="*/ 66 h 74"/>
                <a:gd name="T10" fmla="*/ 10 w 72"/>
                <a:gd name="T11" fmla="*/ 62 h 74"/>
                <a:gd name="T12" fmla="*/ 6 w 72"/>
                <a:gd name="T13" fmla="*/ 58 h 74"/>
                <a:gd name="T14" fmla="*/ 2 w 72"/>
                <a:gd name="T15" fmla="*/ 50 h 74"/>
                <a:gd name="T16" fmla="*/ 0 w 72"/>
                <a:gd name="T17" fmla="*/ 44 h 74"/>
                <a:gd name="T18" fmla="*/ 0 w 72"/>
                <a:gd name="T19" fmla="*/ 36 h 74"/>
                <a:gd name="T20" fmla="*/ 0 w 72"/>
                <a:gd name="T21" fmla="*/ 36 h 74"/>
                <a:gd name="T22" fmla="*/ 0 w 72"/>
                <a:gd name="T23" fmla="*/ 30 h 74"/>
                <a:gd name="T24" fmla="*/ 2 w 72"/>
                <a:gd name="T25" fmla="*/ 22 h 74"/>
                <a:gd name="T26" fmla="*/ 6 w 72"/>
                <a:gd name="T27" fmla="*/ 16 h 74"/>
                <a:gd name="T28" fmla="*/ 10 w 72"/>
                <a:gd name="T29" fmla="*/ 10 h 74"/>
                <a:gd name="T30" fmla="*/ 16 w 72"/>
                <a:gd name="T31" fmla="*/ 6 h 74"/>
                <a:gd name="T32" fmla="*/ 22 w 72"/>
                <a:gd name="T33" fmla="*/ 2 h 74"/>
                <a:gd name="T34" fmla="*/ 28 w 72"/>
                <a:gd name="T35" fmla="*/ 0 h 74"/>
                <a:gd name="T36" fmla="*/ 36 w 72"/>
                <a:gd name="T37" fmla="*/ 0 h 74"/>
                <a:gd name="T38" fmla="*/ 36 w 72"/>
                <a:gd name="T39" fmla="*/ 0 h 74"/>
                <a:gd name="T40" fmla="*/ 44 w 72"/>
                <a:gd name="T41" fmla="*/ 0 h 74"/>
                <a:gd name="T42" fmla="*/ 50 w 72"/>
                <a:gd name="T43" fmla="*/ 2 h 74"/>
                <a:gd name="T44" fmla="*/ 56 w 72"/>
                <a:gd name="T45" fmla="*/ 6 h 74"/>
                <a:gd name="T46" fmla="*/ 62 w 72"/>
                <a:gd name="T47" fmla="*/ 10 h 74"/>
                <a:gd name="T48" fmla="*/ 66 w 72"/>
                <a:gd name="T49" fmla="*/ 16 h 74"/>
                <a:gd name="T50" fmla="*/ 70 w 72"/>
                <a:gd name="T51" fmla="*/ 22 h 74"/>
                <a:gd name="T52" fmla="*/ 72 w 72"/>
                <a:gd name="T53" fmla="*/ 30 h 74"/>
                <a:gd name="T54" fmla="*/ 72 w 72"/>
                <a:gd name="T55" fmla="*/ 36 h 74"/>
                <a:gd name="T56" fmla="*/ 72 w 72"/>
                <a:gd name="T57" fmla="*/ 36 h 74"/>
                <a:gd name="T58" fmla="*/ 72 w 72"/>
                <a:gd name="T59" fmla="*/ 44 h 74"/>
                <a:gd name="T60" fmla="*/ 70 w 72"/>
                <a:gd name="T61" fmla="*/ 50 h 74"/>
                <a:gd name="T62" fmla="*/ 66 w 72"/>
                <a:gd name="T63" fmla="*/ 58 h 74"/>
                <a:gd name="T64" fmla="*/ 62 w 72"/>
                <a:gd name="T65" fmla="*/ 62 h 74"/>
                <a:gd name="T66" fmla="*/ 56 w 72"/>
                <a:gd name="T67" fmla="*/ 66 h 74"/>
                <a:gd name="T68" fmla="*/ 50 w 72"/>
                <a:gd name="T69" fmla="*/ 70 h 74"/>
                <a:gd name="T70" fmla="*/ 44 w 72"/>
                <a:gd name="T71" fmla="*/ 72 h 74"/>
                <a:gd name="T72" fmla="*/ 36 w 72"/>
                <a:gd name="T73" fmla="*/ 74 h 74"/>
                <a:gd name="T74" fmla="*/ 36 w 72"/>
                <a:gd name="T75" fmla="*/ 74 h 74"/>
                <a:gd name="T76" fmla="*/ 36 w 72"/>
                <a:gd name="T77" fmla="*/ 18 h 74"/>
                <a:gd name="T78" fmla="*/ 36 w 72"/>
                <a:gd name="T79" fmla="*/ 18 h 74"/>
                <a:gd name="T80" fmla="*/ 28 w 72"/>
                <a:gd name="T81" fmla="*/ 20 h 74"/>
                <a:gd name="T82" fmla="*/ 22 w 72"/>
                <a:gd name="T83" fmla="*/ 24 h 74"/>
                <a:gd name="T84" fmla="*/ 18 w 72"/>
                <a:gd name="T85" fmla="*/ 30 h 74"/>
                <a:gd name="T86" fmla="*/ 18 w 72"/>
                <a:gd name="T87" fmla="*/ 36 h 74"/>
                <a:gd name="T88" fmla="*/ 18 w 72"/>
                <a:gd name="T89" fmla="*/ 36 h 74"/>
                <a:gd name="T90" fmla="*/ 18 w 72"/>
                <a:gd name="T91" fmla="*/ 44 h 74"/>
                <a:gd name="T92" fmla="*/ 22 w 72"/>
                <a:gd name="T93" fmla="*/ 50 h 74"/>
                <a:gd name="T94" fmla="*/ 28 w 72"/>
                <a:gd name="T95" fmla="*/ 54 h 74"/>
                <a:gd name="T96" fmla="*/ 36 w 72"/>
                <a:gd name="T97" fmla="*/ 56 h 74"/>
                <a:gd name="T98" fmla="*/ 36 w 72"/>
                <a:gd name="T99" fmla="*/ 56 h 74"/>
                <a:gd name="T100" fmla="*/ 44 w 72"/>
                <a:gd name="T101" fmla="*/ 54 h 74"/>
                <a:gd name="T102" fmla="*/ 50 w 72"/>
                <a:gd name="T103" fmla="*/ 50 h 74"/>
                <a:gd name="T104" fmla="*/ 54 w 72"/>
                <a:gd name="T105" fmla="*/ 44 h 74"/>
                <a:gd name="T106" fmla="*/ 54 w 72"/>
                <a:gd name="T107" fmla="*/ 36 h 74"/>
                <a:gd name="T108" fmla="*/ 54 w 72"/>
                <a:gd name="T109" fmla="*/ 36 h 74"/>
                <a:gd name="T110" fmla="*/ 54 w 72"/>
                <a:gd name="T111" fmla="*/ 30 h 74"/>
                <a:gd name="T112" fmla="*/ 50 w 72"/>
                <a:gd name="T113" fmla="*/ 24 h 74"/>
                <a:gd name="T114" fmla="*/ 44 w 72"/>
                <a:gd name="T115" fmla="*/ 20 h 74"/>
                <a:gd name="T116" fmla="*/ 36 w 72"/>
                <a:gd name="T117" fmla="*/ 18 h 74"/>
                <a:gd name="T118" fmla="*/ 36 w 72"/>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 h="74">
                  <a:moveTo>
                    <a:pt x="36" y="74"/>
                  </a:moveTo>
                  <a:lnTo>
                    <a:pt x="36" y="74"/>
                  </a:lnTo>
                  <a:lnTo>
                    <a:pt x="28" y="72"/>
                  </a:lnTo>
                  <a:lnTo>
                    <a:pt x="22" y="70"/>
                  </a:lnTo>
                  <a:lnTo>
                    <a:pt x="16" y="66"/>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36" y="0"/>
                  </a:lnTo>
                  <a:lnTo>
                    <a:pt x="44" y="0"/>
                  </a:lnTo>
                  <a:lnTo>
                    <a:pt x="50" y="2"/>
                  </a:lnTo>
                  <a:lnTo>
                    <a:pt x="56" y="6"/>
                  </a:lnTo>
                  <a:lnTo>
                    <a:pt x="62" y="10"/>
                  </a:lnTo>
                  <a:lnTo>
                    <a:pt x="66" y="16"/>
                  </a:lnTo>
                  <a:lnTo>
                    <a:pt x="70" y="22"/>
                  </a:lnTo>
                  <a:lnTo>
                    <a:pt x="72" y="30"/>
                  </a:lnTo>
                  <a:lnTo>
                    <a:pt x="72" y="36"/>
                  </a:lnTo>
                  <a:lnTo>
                    <a:pt x="72" y="36"/>
                  </a:lnTo>
                  <a:lnTo>
                    <a:pt x="72" y="44"/>
                  </a:lnTo>
                  <a:lnTo>
                    <a:pt x="70" y="50"/>
                  </a:lnTo>
                  <a:lnTo>
                    <a:pt x="66" y="58"/>
                  </a:lnTo>
                  <a:lnTo>
                    <a:pt x="62" y="62"/>
                  </a:lnTo>
                  <a:lnTo>
                    <a:pt x="56" y="66"/>
                  </a:lnTo>
                  <a:lnTo>
                    <a:pt x="50" y="70"/>
                  </a:lnTo>
                  <a:lnTo>
                    <a:pt x="44" y="72"/>
                  </a:lnTo>
                  <a:lnTo>
                    <a:pt x="36" y="74"/>
                  </a:lnTo>
                  <a:lnTo>
                    <a:pt x="36" y="74"/>
                  </a:lnTo>
                  <a:close/>
                  <a:moveTo>
                    <a:pt x="36" y="18"/>
                  </a:moveTo>
                  <a:lnTo>
                    <a:pt x="36" y="18"/>
                  </a:lnTo>
                  <a:lnTo>
                    <a:pt x="28" y="20"/>
                  </a:lnTo>
                  <a:lnTo>
                    <a:pt x="22" y="24"/>
                  </a:lnTo>
                  <a:lnTo>
                    <a:pt x="18" y="30"/>
                  </a:lnTo>
                  <a:lnTo>
                    <a:pt x="18" y="36"/>
                  </a:lnTo>
                  <a:lnTo>
                    <a:pt x="18" y="36"/>
                  </a:lnTo>
                  <a:lnTo>
                    <a:pt x="18" y="44"/>
                  </a:lnTo>
                  <a:lnTo>
                    <a:pt x="22" y="50"/>
                  </a:lnTo>
                  <a:lnTo>
                    <a:pt x="28" y="54"/>
                  </a:lnTo>
                  <a:lnTo>
                    <a:pt x="36" y="56"/>
                  </a:lnTo>
                  <a:lnTo>
                    <a:pt x="36" y="56"/>
                  </a:lnTo>
                  <a:lnTo>
                    <a:pt x="44" y="54"/>
                  </a:lnTo>
                  <a:lnTo>
                    <a:pt x="50" y="50"/>
                  </a:lnTo>
                  <a:lnTo>
                    <a:pt x="54" y="44"/>
                  </a:lnTo>
                  <a:lnTo>
                    <a:pt x="54" y="36"/>
                  </a:lnTo>
                  <a:lnTo>
                    <a:pt x="54" y="36"/>
                  </a:lnTo>
                  <a:lnTo>
                    <a:pt x="54" y="30"/>
                  </a:lnTo>
                  <a:lnTo>
                    <a:pt x="50" y="24"/>
                  </a:lnTo>
                  <a:lnTo>
                    <a:pt x="44" y="20"/>
                  </a:lnTo>
                  <a:lnTo>
                    <a:pt x="36" y="18"/>
                  </a:lnTo>
                  <a:lnTo>
                    <a:pt x="36" y="18"/>
                  </a:lnTo>
                  <a:close/>
                </a:path>
              </a:pathLst>
            </a:custGeom>
            <a:solidFill>
              <a:srgbClr val="1A9AFA"/>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1" name="Freeform 8">
              <a:extLst>
                <a:ext uri="{FF2B5EF4-FFF2-40B4-BE49-F238E27FC236}">
                  <a16:creationId xmlns:a16="http://schemas.microsoft.com/office/drawing/2014/main" id="{85B0F3D7-0AE9-4A07-AF3D-5444711DA26D}"/>
                </a:ext>
              </a:extLst>
            </p:cNvPr>
            <p:cNvSpPr>
              <a:spLocks noEditPoints="1"/>
            </p:cNvSpPr>
            <p:nvPr/>
          </p:nvSpPr>
          <p:spPr bwMode="black">
            <a:xfrm>
              <a:off x="1157" y="2070"/>
              <a:ext cx="74" cy="74"/>
            </a:xfrm>
            <a:custGeom>
              <a:avLst/>
              <a:gdLst>
                <a:gd name="T0" fmla="*/ 38 w 74"/>
                <a:gd name="T1" fmla="*/ 74 h 74"/>
                <a:gd name="T2" fmla="*/ 38 w 74"/>
                <a:gd name="T3" fmla="*/ 74 h 74"/>
                <a:gd name="T4" fmla="*/ 30 w 74"/>
                <a:gd name="T5" fmla="*/ 72 h 74"/>
                <a:gd name="T6" fmla="*/ 24 w 74"/>
                <a:gd name="T7" fmla="*/ 70 h 74"/>
                <a:gd name="T8" fmla="*/ 18 w 74"/>
                <a:gd name="T9" fmla="*/ 66 h 74"/>
                <a:gd name="T10" fmla="*/ 12 w 74"/>
                <a:gd name="T11" fmla="*/ 62 h 74"/>
                <a:gd name="T12" fmla="*/ 8 w 74"/>
                <a:gd name="T13" fmla="*/ 58 h 74"/>
                <a:gd name="T14" fmla="*/ 4 w 74"/>
                <a:gd name="T15" fmla="*/ 50 h 74"/>
                <a:gd name="T16" fmla="*/ 2 w 74"/>
                <a:gd name="T17" fmla="*/ 44 h 74"/>
                <a:gd name="T18" fmla="*/ 0 w 74"/>
                <a:gd name="T19" fmla="*/ 36 h 74"/>
                <a:gd name="T20" fmla="*/ 0 w 74"/>
                <a:gd name="T21" fmla="*/ 36 h 74"/>
                <a:gd name="T22" fmla="*/ 2 w 74"/>
                <a:gd name="T23" fmla="*/ 30 h 74"/>
                <a:gd name="T24" fmla="*/ 4 w 74"/>
                <a:gd name="T25" fmla="*/ 22 h 74"/>
                <a:gd name="T26" fmla="*/ 8 w 74"/>
                <a:gd name="T27" fmla="*/ 16 h 74"/>
                <a:gd name="T28" fmla="*/ 12 w 74"/>
                <a:gd name="T29" fmla="*/ 10 h 74"/>
                <a:gd name="T30" fmla="*/ 18 w 74"/>
                <a:gd name="T31" fmla="*/ 6 h 74"/>
                <a:gd name="T32" fmla="*/ 24 w 74"/>
                <a:gd name="T33" fmla="*/ 2 h 74"/>
                <a:gd name="T34" fmla="*/ 30 w 74"/>
                <a:gd name="T35" fmla="*/ 0 h 74"/>
                <a:gd name="T36" fmla="*/ 38 w 74"/>
                <a:gd name="T37" fmla="*/ 0 h 74"/>
                <a:gd name="T38" fmla="*/ 38 w 74"/>
                <a:gd name="T39" fmla="*/ 0 h 74"/>
                <a:gd name="T40" fmla="*/ 46 w 74"/>
                <a:gd name="T41" fmla="*/ 0 h 74"/>
                <a:gd name="T42" fmla="*/ 52 w 74"/>
                <a:gd name="T43" fmla="*/ 2 h 74"/>
                <a:gd name="T44" fmla="*/ 58 w 74"/>
                <a:gd name="T45" fmla="*/ 6 h 74"/>
                <a:gd name="T46" fmla="*/ 64 w 74"/>
                <a:gd name="T47" fmla="*/ 10 h 74"/>
                <a:gd name="T48" fmla="*/ 68 w 74"/>
                <a:gd name="T49" fmla="*/ 16 h 74"/>
                <a:gd name="T50" fmla="*/ 72 w 74"/>
                <a:gd name="T51" fmla="*/ 22 h 74"/>
                <a:gd name="T52" fmla="*/ 74 w 74"/>
                <a:gd name="T53" fmla="*/ 30 h 74"/>
                <a:gd name="T54" fmla="*/ 74 w 74"/>
                <a:gd name="T55" fmla="*/ 36 h 74"/>
                <a:gd name="T56" fmla="*/ 74 w 74"/>
                <a:gd name="T57" fmla="*/ 36 h 74"/>
                <a:gd name="T58" fmla="*/ 74 w 74"/>
                <a:gd name="T59" fmla="*/ 44 h 74"/>
                <a:gd name="T60" fmla="*/ 72 w 74"/>
                <a:gd name="T61" fmla="*/ 50 h 74"/>
                <a:gd name="T62" fmla="*/ 68 w 74"/>
                <a:gd name="T63" fmla="*/ 58 h 74"/>
                <a:gd name="T64" fmla="*/ 64 w 74"/>
                <a:gd name="T65" fmla="*/ 62 h 74"/>
                <a:gd name="T66" fmla="*/ 58 w 74"/>
                <a:gd name="T67" fmla="*/ 66 h 74"/>
                <a:gd name="T68" fmla="*/ 52 w 74"/>
                <a:gd name="T69" fmla="*/ 70 h 74"/>
                <a:gd name="T70" fmla="*/ 46 w 74"/>
                <a:gd name="T71" fmla="*/ 72 h 74"/>
                <a:gd name="T72" fmla="*/ 38 w 74"/>
                <a:gd name="T73" fmla="*/ 74 h 74"/>
                <a:gd name="T74" fmla="*/ 38 w 74"/>
                <a:gd name="T75" fmla="*/ 74 h 74"/>
                <a:gd name="T76" fmla="*/ 38 w 74"/>
                <a:gd name="T77" fmla="*/ 18 h 74"/>
                <a:gd name="T78" fmla="*/ 38 w 74"/>
                <a:gd name="T79" fmla="*/ 18 h 74"/>
                <a:gd name="T80" fmla="*/ 30 w 74"/>
                <a:gd name="T81" fmla="*/ 20 h 74"/>
                <a:gd name="T82" fmla="*/ 24 w 74"/>
                <a:gd name="T83" fmla="*/ 24 h 74"/>
                <a:gd name="T84" fmla="*/ 20 w 74"/>
                <a:gd name="T85" fmla="*/ 30 h 74"/>
                <a:gd name="T86" fmla="*/ 18 w 74"/>
                <a:gd name="T87" fmla="*/ 36 h 74"/>
                <a:gd name="T88" fmla="*/ 18 w 74"/>
                <a:gd name="T89" fmla="*/ 36 h 74"/>
                <a:gd name="T90" fmla="*/ 20 w 74"/>
                <a:gd name="T91" fmla="*/ 44 h 74"/>
                <a:gd name="T92" fmla="*/ 24 w 74"/>
                <a:gd name="T93" fmla="*/ 50 h 74"/>
                <a:gd name="T94" fmla="*/ 30 w 74"/>
                <a:gd name="T95" fmla="*/ 54 h 74"/>
                <a:gd name="T96" fmla="*/ 38 w 74"/>
                <a:gd name="T97" fmla="*/ 56 h 74"/>
                <a:gd name="T98" fmla="*/ 38 w 74"/>
                <a:gd name="T99" fmla="*/ 56 h 74"/>
                <a:gd name="T100" fmla="*/ 46 w 74"/>
                <a:gd name="T101" fmla="*/ 54 h 74"/>
                <a:gd name="T102" fmla="*/ 50 w 74"/>
                <a:gd name="T103" fmla="*/ 50 h 74"/>
                <a:gd name="T104" fmla="*/ 54 w 74"/>
                <a:gd name="T105" fmla="*/ 44 h 74"/>
                <a:gd name="T106" fmla="*/ 56 w 74"/>
                <a:gd name="T107" fmla="*/ 36 h 74"/>
                <a:gd name="T108" fmla="*/ 56 w 74"/>
                <a:gd name="T109" fmla="*/ 36 h 74"/>
                <a:gd name="T110" fmla="*/ 54 w 74"/>
                <a:gd name="T111" fmla="*/ 30 h 74"/>
                <a:gd name="T112" fmla="*/ 50 w 74"/>
                <a:gd name="T113" fmla="*/ 24 h 74"/>
                <a:gd name="T114" fmla="*/ 46 w 74"/>
                <a:gd name="T115" fmla="*/ 20 h 74"/>
                <a:gd name="T116" fmla="*/ 38 w 74"/>
                <a:gd name="T117" fmla="*/ 18 h 74"/>
                <a:gd name="T118" fmla="*/ 38 w 74"/>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4">
                  <a:moveTo>
                    <a:pt x="38" y="74"/>
                  </a:moveTo>
                  <a:lnTo>
                    <a:pt x="38" y="74"/>
                  </a:lnTo>
                  <a:lnTo>
                    <a:pt x="30" y="72"/>
                  </a:lnTo>
                  <a:lnTo>
                    <a:pt x="24" y="70"/>
                  </a:lnTo>
                  <a:lnTo>
                    <a:pt x="18" y="66"/>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6" y="0"/>
                  </a:lnTo>
                  <a:lnTo>
                    <a:pt x="52" y="2"/>
                  </a:lnTo>
                  <a:lnTo>
                    <a:pt x="58" y="6"/>
                  </a:lnTo>
                  <a:lnTo>
                    <a:pt x="64" y="10"/>
                  </a:lnTo>
                  <a:lnTo>
                    <a:pt x="68" y="16"/>
                  </a:lnTo>
                  <a:lnTo>
                    <a:pt x="72" y="22"/>
                  </a:lnTo>
                  <a:lnTo>
                    <a:pt x="74" y="30"/>
                  </a:lnTo>
                  <a:lnTo>
                    <a:pt x="74" y="36"/>
                  </a:lnTo>
                  <a:lnTo>
                    <a:pt x="74" y="36"/>
                  </a:lnTo>
                  <a:lnTo>
                    <a:pt x="74" y="44"/>
                  </a:lnTo>
                  <a:lnTo>
                    <a:pt x="72" y="50"/>
                  </a:lnTo>
                  <a:lnTo>
                    <a:pt x="68" y="58"/>
                  </a:lnTo>
                  <a:lnTo>
                    <a:pt x="64" y="62"/>
                  </a:lnTo>
                  <a:lnTo>
                    <a:pt x="58" y="66"/>
                  </a:lnTo>
                  <a:lnTo>
                    <a:pt x="52" y="70"/>
                  </a:lnTo>
                  <a:lnTo>
                    <a:pt x="46" y="72"/>
                  </a:lnTo>
                  <a:lnTo>
                    <a:pt x="38" y="74"/>
                  </a:lnTo>
                  <a:lnTo>
                    <a:pt x="38" y="74"/>
                  </a:lnTo>
                  <a:close/>
                  <a:moveTo>
                    <a:pt x="38" y="18"/>
                  </a:moveTo>
                  <a:lnTo>
                    <a:pt x="38" y="18"/>
                  </a:lnTo>
                  <a:lnTo>
                    <a:pt x="30" y="20"/>
                  </a:lnTo>
                  <a:lnTo>
                    <a:pt x="24" y="24"/>
                  </a:lnTo>
                  <a:lnTo>
                    <a:pt x="20" y="30"/>
                  </a:lnTo>
                  <a:lnTo>
                    <a:pt x="18" y="36"/>
                  </a:lnTo>
                  <a:lnTo>
                    <a:pt x="18" y="36"/>
                  </a:lnTo>
                  <a:lnTo>
                    <a:pt x="20" y="44"/>
                  </a:lnTo>
                  <a:lnTo>
                    <a:pt x="24" y="50"/>
                  </a:lnTo>
                  <a:lnTo>
                    <a:pt x="30" y="54"/>
                  </a:lnTo>
                  <a:lnTo>
                    <a:pt x="38" y="56"/>
                  </a:lnTo>
                  <a:lnTo>
                    <a:pt x="38" y="56"/>
                  </a:lnTo>
                  <a:lnTo>
                    <a:pt x="46" y="54"/>
                  </a:lnTo>
                  <a:lnTo>
                    <a:pt x="50" y="50"/>
                  </a:lnTo>
                  <a:lnTo>
                    <a:pt x="54" y="44"/>
                  </a:lnTo>
                  <a:lnTo>
                    <a:pt x="56" y="36"/>
                  </a:lnTo>
                  <a:lnTo>
                    <a:pt x="56" y="36"/>
                  </a:lnTo>
                  <a:lnTo>
                    <a:pt x="54" y="30"/>
                  </a:lnTo>
                  <a:lnTo>
                    <a:pt x="50" y="24"/>
                  </a:lnTo>
                  <a:lnTo>
                    <a:pt x="46" y="20"/>
                  </a:lnTo>
                  <a:lnTo>
                    <a:pt x="38" y="18"/>
                  </a:lnTo>
                  <a:lnTo>
                    <a:pt x="38" y="18"/>
                  </a:lnTo>
                  <a:close/>
                </a:path>
              </a:pathLst>
            </a:custGeom>
            <a:solidFill>
              <a:srgbClr val="1A9AFA"/>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2" name="Freeform 9">
              <a:extLst>
                <a:ext uri="{FF2B5EF4-FFF2-40B4-BE49-F238E27FC236}">
                  <a16:creationId xmlns:a16="http://schemas.microsoft.com/office/drawing/2014/main" id="{4D2BC71C-E037-4A7A-939D-7D24A60280CF}"/>
                </a:ext>
              </a:extLst>
            </p:cNvPr>
            <p:cNvSpPr>
              <a:spLocks noEditPoints="1"/>
            </p:cNvSpPr>
            <p:nvPr/>
          </p:nvSpPr>
          <p:spPr bwMode="black">
            <a:xfrm>
              <a:off x="1249" y="2070"/>
              <a:ext cx="74" cy="74"/>
            </a:xfrm>
            <a:custGeom>
              <a:avLst/>
              <a:gdLst>
                <a:gd name="T0" fmla="*/ 38 w 74"/>
                <a:gd name="T1" fmla="*/ 74 h 74"/>
                <a:gd name="T2" fmla="*/ 38 w 74"/>
                <a:gd name="T3" fmla="*/ 74 h 74"/>
                <a:gd name="T4" fmla="*/ 30 w 74"/>
                <a:gd name="T5" fmla="*/ 72 h 74"/>
                <a:gd name="T6" fmla="*/ 24 w 74"/>
                <a:gd name="T7" fmla="*/ 70 h 74"/>
                <a:gd name="T8" fmla="*/ 18 w 74"/>
                <a:gd name="T9" fmla="*/ 66 h 74"/>
                <a:gd name="T10" fmla="*/ 12 w 74"/>
                <a:gd name="T11" fmla="*/ 62 h 74"/>
                <a:gd name="T12" fmla="*/ 8 w 74"/>
                <a:gd name="T13" fmla="*/ 58 h 74"/>
                <a:gd name="T14" fmla="*/ 4 w 74"/>
                <a:gd name="T15" fmla="*/ 50 h 74"/>
                <a:gd name="T16" fmla="*/ 2 w 74"/>
                <a:gd name="T17" fmla="*/ 44 h 74"/>
                <a:gd name="T18" fmla="*/ 0 w 74"/>
                <a:gd name="T19" fmla="*/ 36 h 74"/>
                <a:gd name="T20" fmla="*/ 0 w 74"/>
                <a:gd name="T21" fmla="*/ 36 h 74"/>
                <a:gd name="T22" fmla="*/ 2 w 74"/>
                <a:gd name="T23" fmla="*/ 30 h 74"/>
                <a:gd name="T24" fmla="*/ 4 w 74"/>
                <a:gd name="T25" fmla="*/ 22 h 74"/>
                <a:gd name="T26" fmla="*/ 8 w 74"/>
                <a:gd name="T27" fmla="*/ 16 h 74"/>
                <a:gd name="T28" fmla="*/ 12 w 74"/>
                <a:gd name="T29" fmla="*/ 10 h 74"/>
                <a:gd name="T30" fmla="*/ 18 w 74"/>
                <a:gd name="T31" fmla="*/ 6 h 74"/>
                <a:gd name="T32" fmla="*/ 24 w 74"/>
                <a:gd name="T33" fmla="*/ 2 h 74"/>
                <a:gd name="T34" fmla="*/ 30 w 74"/>
                <a:gd name="T35" fmla="*/ 0 h 74"/>
                <a:gd name="T36" fmla="*/ 38 w 74"/>
                <a:gd name="T37" fmla="*/ 0 h 74"/>
                <a:gd name="T38" fmla="*/ 38 w 74"/>
                <a:gd name="T39" fmla="*/ 0 h 74"/>
                <a:gd name="T40" fmla="*/ 44 w 74"/>
                <a:gd name="T41" fmla="*/ 0 h 74"/>
                <a:gd name="T42" fmla="*/ 52 w 74"/>
                <a:gd name="T43" fmla="*/ 2 h 74"/>
                <a:gd name="T44" fmla="*/ 58 w 74"/>
                <a:gd name="T45" fmla="*/ 6 h 74"/>
                <a:gd name="T46" fmla="*/ 64 w 74"/>
                <a:gd name="T47" fmla="*/ 10 h 74"/>
                <a:gd name="T48" fmla="*/ 68 w 74"/>
                <a:gd name="T49" fmla="*/ 16 h 74"/>
                <a:gd name="T50" fmla="*/ 72 w 74"/>
                <a:gd name="T51" fmla="*/ 22 h 74"/>
                <a:gd name="T52" fmla="*/ 74 w 74"/>
                <a:gd name="T53" fmla="*/ 30 h 74"/>
                <a:gd name="T54" fmla="*/ 74 w 74"/>
                <a:gd name="T55" fmla="*/ 36 h 74"/>
                <a:gd name="T56" fmla="*/ 74 w 74"/>
                <a:gd name="T57" fmla="*/ 36 h 74"/>
                <a:gd name="T58" fmla="*/ 74 w 74"/>
                <a:gd name="T59" fmla="*/ 44 h 74"/>
                <a:gd name="T60" fmla="*/ 72 w 74"/>
                <a:gd name="T61" fmla="*/ 50 h 74"/>
                <a:gd name="T62" fmla="*/ 68 w 74"/>
                <a:gd name="T63" fmla="*/ 58 h 74"/>
                <a:gd name="T64" fmla="*/ 64 w 74"/>
                <a:gd name="T65" fmla="*/ 62 h 74"/>
                <a:gd name="T66" fmla="*/ 58 w 74"/>
                <a:gd name="T67" fmla="*/ 66 h 74"/>
                <a:gd name="T68" fmla="*/ 52 w 74"/>
                <a:gd name="T69" fmla="*/ 70 h 74"/>
                <a:gd name="T70" fmla="*/ 44 w 74"/>
                <a:gd name="T71" fmla="*/ 72 h 74"/>
                <a:gd name="T72" fmla="*/ 38 w 74"/>
                <a:gd name="T73" fmla="*/ 74 h 74"/>
                <a:gd name="T74" fmla="*/ 38 w 74"/>
                <a:gd name="T75" fmla="*/ 74 h 74"/>
                <a:gd name="T76" fmla="*/ 38 w 74"/>
                <a:gd name="T77" fmla="*/ 18 h 74"/>
                <a:gd name="T78" fmla="*/ 38 w 74"/>
                <a:gd name="T79" fmla="*/ 18 h 74"/>
                <a:gd name="T80" fmla="*/ 30 w 74"/>
                <a:gd name="T81" fmla="*/ 20 h 74"/>
                <a:gd name="T82" fmla="*/ 24 w 74"/>
                <a:gd name="T83" fmla="*/ 24 h 74"/>
                <a:gd name="T84" fmla="*/ 20 w 74"/>
                <a:gd name="T85" fmla="*/ 30 h 74"/>
                <a:gd name="T86" fmla="*/ 18 w 74"/>
                <a:gd name="T87" fmla="*/ 36 h 74"/>
                <a:gd name="T88" fmla="*/ 18 w 74"/>
                <a:gd name="T89" fmla="*/ 36 h 74"/>
                <a:gd name="T90" fmla="*/ 20 w 74"/>
                <a:gd name="T91" fmla="*/ 44 h 74"/>
                <a:gd name="T92" fmla="*/ 24 w 74"/>
                <a:gd name="T93" fmla="*/ 50 h 74"/>
                <a:gd name="T94" fmla="*/ 30 w 74"/>
                <a:gd name="T95" fmla="*/ 54 h 74"/>
                <a:gd name="T96" fmla="*/ 38 w 74"/>
                <a:gd name="T97" fmla="*/ 56 h 74"/>
                <a:gd name="T98" fmla="*/ 38 w 74"/>
                <a:gd name="T99" fmla="*/ 56 h 74"/>
                <a:gd name="T100" fmla="*/ 44 w 74"/>
                <a:gd name="T101" fmla="*/ 54 h 74"/>
                <a:gd name="T102" fmla="*/ 50 w 74"/>
                <a:gd name="T103" fmla="*/ 50 h 74"/>
                <a:gd name="T104" fmla="*/ 54 w 74"/>
                <a:gd name="T105" fmla="*/ 44 h 74"/>
                <a:gd name="T106" fmla="*/ 56 w 74"/>
                <a:gd name="T107" fmla="*/ 36 h 74"/>
                <a:gd name="T108" fmla="*/ 56 w 74"/>
                <a:gd name="T109" fmla="*/ 36 h 74"/>
                <a:gd name="T110" fmla="*/ 54 w 74"/>
                <a:gd name="T111" fmla="*/ 30 h 74"/>
                <a:gd name="T112" fmla="*/ 50 w 74"/>
                <a:gd name="T113" fmla="*/ 24 h 74"/>
                <a:gd name="T114" fmla="*/ 44 w 74"/>
                <a:gd name="T115" fmla="*/ 20 h 74"/>
                <a:gd name="T116" fmla="*/ 38 w 74"/>
                <a:gd name="T117" fmla="*/ 18 h 74"/>
                <a:gd name="T118" fmla="*/ 38 w 74"/>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4">
                  <a:moveTo>
                    <a:pt x="38" y="74"/>
                  </a:moveTo>
                  <a:lnTo>
                    <a:pt x="38" y="74"/>
                  </a:lnTo>
                  <a:lnTo>
                    <a:pt x="30" y="72"/>
                  </a:lnTo>
                  <a:lnTo>
                    <a:pt x="24" y="70"/>
                  </a:lnTo>
                  <a:lnTo>
                    <a:pt x="18" y="66"/>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36"/>
                  </a:lnTo>
                  <a:lnTo>
                    <a:pt x="74" y="44"/>
                  </a:lnTo>
                  <a:lnTo>
                    <a:pt x="72" y="50"/>
                  </a:lnTo>
                  <a:lnTo>
                    <a:pt x="68" y="58"/>
                  </a:lnTo>
                  <a:lnTo>
                    <a:pt x="64" y="62"/>
                  </a:lnTo>
                  <a:lnTo>
                    <a:pt x="58" y="66"/>
                  </a:lnTo>
                  <a:lnTo>
                    <a:pt x="52" y="70"/>
                  </a:lnTo>
                  <a:lnTo>
                    <a:pt x="44" y="72"/>
                  </a:lnTo>
                  <a:lnTo>
                    <a:pt x="38" y="74"/>
                  </a:lnTo>
                  <a:lnTo>
                    <a:pt x="38" y="74"/>
                  </a:lnTo>
                  <a:close/>
                  <a:moveTo>
                    <a:pt x="38" y="18"/>
                  </a:moveTo>
                  <a:lnTo>
                    <a:pt x="38" y="18"/>
                  </a:lnTo>
                  <a:lnTo>
                    <a:pt x="30" y="20"/>
                  </a:lnTo>
                  <a:lnTo>
                    <a:pt x="24" y="24"/>
                  </a:lnTo>
                  <a:lnTo>
                    <a:pt x="20" y="30"/>
                  </a:lnTo>
                  <a:lnTo>
                    <a:pt x="18" y="36"/>
                  </a:lnTo>
                  <a:lnTo>
                    <a:pt x="18" y="36"/>
                  </a:lnTo>
                  <a:lnTo>
                    <a:pt x="20" y="44"/>
                  </a:lnTo>
                  <a:lnTo>
                    <a:pt x="24" y="50"/>
                  </a:lnTo>
                  <a:lnTo>
                    <a:pt x="30" y="54"/>
                  </a:lnTo>
                  <a:lnTo>
                    <a:pt x="38" y="56"/>
                  </a:lnTo>
                  <a:lnTo>
                    <a:pt x="38" y="56"/>
                  </a:lnTo>
                  <a:lnTo>
                    <a:pt x="44" y="54"/>
                  </a:lnTo>
                  <a:lnTo>
                    <a:pt x="50" y="50"/>
                  </a:lnTo>
                  <a:lnTo>
                    <a:pt x="54" y="44"/>
                  </a:lnTo>
                  <a:lnTo>
                    <a:pt x="56" y="36"/>
                  </a:lnTo>
                  <a:lnTo>
                    <a:pt x="56" y="36"/>
                  </a:lnTo>
                  <a:lnTo>
                    <a:pt x="54" y="30"/>
                  </a:lnTo>
                  <a:lnTo>
                    <a:pt x="50" y="24"/>
                  </a:lnTo>
                  <a:lnTo>
                    <a:pt x="44" y="20"/>
                  </a:lnTo>
                  <a:lnTo>
                    <a:pt x="38" y="18"/>
                  </a:lnTo>
                  <a:lnTo>
                    <a:pt x="38" y="18"/>
                  </a:lnTo>
                  <a:close/>
                </a:path>
              </a:pathLst>
            </a:custGeom>
            <a:solidFill>
              <a:srgbClr val="1A9AFA"/>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grpSp>
      <p:grpSp>
        <p:nvGrpSpPr>
          <p:cNvPr id="13" name="Group 12">
            <a:extLst>
              <a:ext uri="{FF2B5EF4-FFF2-40B4-BE49-F238E27FC236}">
                <a16:creationId xmlns:a16="http://schemas.microsoft.com/office/drawing/2014/main" id="{B5268F8D-784F-4488-8B3C-8C7E95E6341E}"/>
              </a:ext>
            </a:extLst>
          </p:cNvPr>
          <p:cNvGrpSpPr>
            <a:grpSpLocks noChangeAspect="1"/>
          </p:cNvGrpSpPr>
          <p:nvPr/>
        </p:nvGrpSpPr>
        <p:grpSpPr bwMode="black">
          <a:xfrm>
            <a:off x="4192586" y="2254296"/>
            <a:ext cx="1054100" cy="1441450"/>
            <a:chOff x="2487" y="1742"/>
            <a:chExt cx="664" cy="908"/>
          </a:xfrm>
          <a:solidFill>
            <a:schemeClr val="bg1"/>
          </a:solidFill>
        </p:grpSpPr>
        <p:sp>
          <p:nvSpPr>
            <p:cNvPr id="14" name="Freeform 13">
              <a:extLst>
                <a:ext uri="{FF2B5EF4-FFF2-40B4-BE49-F238E27FC236}">
                  <a16:creationId xmlns:a16="http://schemas.microsoft.com/office/drawing/2014/main" id="{C1036E5D-4031-4FDC-B604-B45DF652BC1F}"/>
                </a:ext>
              </a:extLst>
            </p:cNvPr>
            <p:cNvSpPr>
              <a:spLocks noEditPoints="1"/>
            </p:cNvSpPr>
            <p:nvPr/>
          </p:nvSpPr>
          <p:spPr bwMode="black">
            <a:xfrm>
              <a:off x="2537" y="1802"/>
              <a:ext cx="562" cy="796"/>
            </a:xfrm>
            <a:custGeom>
              <a:avLst/>
              <a:gdLst>
                <a:gd name="T0" fmla="*/ 170 w 562"/>
                <a:gd name="T1" fmla="*/ 540 h 796"/>
                <a:gd name="T2" fmla="*/ 132 w 562"/>
                <a:gd name="T3" fmla="*/ 520 h 796"/>
                <a:gd name="T4" fmla="*/ 84 w 562"/>
                <a:gd name="T5" fmla="*/ 482 h 796"/>
                <a:gd name="T6" fmla="*/ 46 w 562"/>
                <a:gd name="T7" fmla="*/ 436 h 796"/>
                <a:gd name="T8" fmla="*/ 18 w 562"/>
                <a:gd name="T9" fmla="*/ 382 h 796"/>
                <a:gd name="T10" fmla="*/ 2 w 562"/>
                <a:gd name="T11" fmla="*/ 322 h 796"/>
                <a:gd name="T12" fmla="*/ 0 w 562"/>
                <a:gd name="T13" fmla="*/ 282 h 796"/>
                <a:gd name="T14" fmla="*/ 12 w 562"/>
                <a:gd name="T15" fmla="*/ 198 h 796"/>
                <a:gd name="T16" fmla="*/ 48 w 562"/>
                <a:gd name="T17" fmla="*/ 124 h 796"/>
                <a:gd name="T18" fmla="*/ 102 w 562"/>
                <a:gd name="T19" fmla="*/ 64 h 796"/>
                <a:gd name="T20" fmla="*/ 172 w 562"/>
                <a:gd name="T21" fmla="*/ 22 h 796"/>
                <a:gd name="T22" fmla="*/ 252 w 562"/>
                <a:gd name="T23" fmla="*/ 0 h 796"/>
                <a:gd name="T24" fmla="*/ 310 w 562"/>
                <a:gd name="T25" fmla="*/ 0 h 796"/>
                <a:gd name="T26" fmla="*/ 390 w 562"/>
                <a:gd name="T27" fmla="*/ 22 h 796"/>
                <a:gd name="T28" fmla="*/ 460 w 562"/>
                <a:gd name="T29" fmla="*/ 64 h 796"/>
                <a:gd name="T30" fmla="*/ 514 w 562"/>
                <a:gd name="T31" fmla="*/ 124 h 796"/>
                <a:gd name="T32" fmla="*/ 550 w 562"/>
                <a:gd name="T33" fmla="*/ 198 h 796"/>
                <a:gd name="T34" fmla="*/ 562 w 562"/>
                <a:gd name="T35" fmla="*/ 282 h 796"/>
                <a:gd name="T36" fmla="*/ 560 w 562"/>
                <a:gd name="T37" fmla="*/ 324 h 796"/>
                <a:gd name="T38" fmla="*/ 544 w 562"/>
                <a:gd name="T39" fmla="*/ 384 h 796"/>
                <a:gd name="T40" fmla="*/ 516 w 562"/>
                <a:gd name="T41" fmla="*/ 438 h 796"/>
                <a:gd name="T42" fmla="*/ 476 w 562"/>
                <a:gd name="T43" fmla="*/ 484 h 796"/>
                <a:gd name="T44" fmla="*/ 428 w 562"/>
                <a:gd name="T45" fmla="*/ 522 h 796"/>
                <a:gd name="T46" fmla="*/ 390 w 562"/>
                <a:gd name="T47" fmla="*/ 796 h 796"/>
                <a:gd name="T48" fmla="*/ 372 w 562"/>
                <a:gd name="T49" fmla="*/ 528 h 796"/>
                <a:gd name="T50" fmla="*/ 396 w 562"/>
                <a:gd name="T51" fmla="*/ 518 h 796"/>
                <a:gd name="T52" fmla="*/ 446 w 562"/>
                <a:gd name="T53" fmla="*/ 486 h 796"/>
                <a:gd name="T54" fmla="*/ 488 w 562"/>
                <a:gd name="T55" fmla="*/ 446 h 796"/>
                <a:gd name="T56" fmla="*/ 518 w 562"/>
                <a:gd name="T57" fmla="*/ 396 h 796"/>
                <a:gd name="T58" fmla="*/ 538 w 562"/>
                <a:gd name="T59" fmla="*/ 340 h 796"/>
                <a:gd name="T60" fmla="*/ 544 w 562"/>
                <a:gd name="T61" fmla="*/ 282 h 796"/>
                <a:gd name="T62" fmla="*/ 540 w 562"/>
                <a:gd name="T63" fmla="*/ 228 h 796"/>
                <a:gd name="T64" fmla="*/ 512 w 562"/>
                <a:gd name="T65" fmla="*/ 156 h 796"/>
                <a:gd name="T66" fmla="*/ 468 w 562"/>
                <a:gd name="T67" fmla="*/ 94 h 796"/>
                <a:gd name="T68" fmla="*/ 406 w 562"/>
                <a:gd name="T69" fmla="*/ 50 h 796"/>
                <a:gd name="T70" fmla="*/ 334 w 562"/>
                <a:gd name="T71" fmla="*/ 22 h 796"/>
                <a:gd name="T72" fmla="*/ 282 w 562"/>
                <a:gd name="T73" fmla="*/ 18 h 796"/>
                <a:gd name="T74" fmla="*/ 202 w 562"/>
                <a:gd name="T75" fmla="*/ 30 h 796"/>
                <a:gd name="T76" fmla="*/ 134 w 562"/>
                <a:gd name="T77" fmla="*/ 62 h 796"/>
                <a:gd name="T78" fmla="*/ 78 w 562"/>
                <a:gd name="T79" fmla="*/ 114 h 796"/>
                <a:gd name="T80" fmla="*/ 38 w 562"/>
                <a:gd name="T81" fmla="*/ 178 h 796"/>
                <a:gd name="T82" fmla="*/ 18 w 562"/>
                <a:gd name="T83" fmla="*/ 254 h 796"/>
                <a:gd name="T84" fmla="*/ 18 w 562"/>
                <a:gd name="T85" fmla="*/ 302 h 796"/>
                <a:gd name="T86" fmla="*/ 30 w 562"/>
                <a:gd name="T87" fmla="*/ 358 h 796"/>
                <a:gd name="T88" fmla="*/ 52 w 562"/>
                <a:gd name="T89" fmla="*/ 412 h 796"/>
                <a:gd name="T90" fmla="*/ 86 w 562"/>
                <a:gd name="T91" fmla="*/ 458 h 796"/>
                <a:gd name="T92" fmla="*/ 130 w 562"/>
                <a:gd name="T93" fmla="*/ 496 h 796"/>
                <a:gd name="T94" fmla="*/ 182 w 562"/>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796">
                  <a:moveTo>
                    <a:pt x="390" y="796"/>
                  </a:moveTo>
                  <a:lnTo>
                    <a:pt x="170" y="796"/>
                  </a:lnTo>
                  <a:lnTo>
                    <a:pt x="170" y="540"/>
                  </a:lnTo>
                  <a:lnTo>
                    <a:pt x="170" y="540"/>
                  </a:lnTo>
                  <a:lnTo>
                    <a:pt x="150" y="530"/>
                  </a:lnTo>
                  <a:lnTo>
                    <a:pt x="132"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2" y="322"/>
                  </a:lnTo>
                  <a:lnTo>
                    <a:pt x="0" y="302"/>
                  </a:lnTo>
                  <a:lnTo>
                    <a:pt x="0" y="282"/>
                  </a:lnTo>
                  <a:lnTo>
                    <a:pt x="0" y="282"/>
                  </a:lnTo>
                  <a:lnTo>
                    <a:pt x="0" y="252"/>
                  </a:lnTo>
                  <a:lnTo>
                    <a:pt x="6" y="224"/>
                  </a:lnTo>
                  <a:lnTo>
                    <a:pt x="12" y="198"/>
                  </a:lnTo>
                  <a:lnTo>
                    <a:pt x="22" y="172"/>
                  </a:lnTo>
                  <a:lnTo>
                    <a:pt x="34" y="146"/>
                  </a:lnTo>
                  <a:lnTo>
                    <a:pt x="48" y="124"/>
                  </a:lnTo>
                  <a:lnTo>
                    <a:pt x="64" y="102"/>
                  </a:lnTo>
                  <a:lnTo>
                    <a:pt x="82" y="82"/>
                  </a:lnTo>
                  <a:lnTo>
                    <a:pt x="102" y="64"/>
                  </a:lnTo>
                  <a:lnTo>
                    <a:pt x="124" y="48"/>
                  </a:lnTo>
                  <a:lnTo>
                    <a:pt x="146" y="34"/>
                  </a:lnTo>
                  <a:lnTo>
                    <a:pt x="172" y="22"/>
                  </a:lnTo>
                  <a:lnTo>
                    <a:pt x="198" y="12"/>
                  </a:lnTo>
                  <a:lnTo>
                    <a:pt x="224" y="6"/>
                  </a:lnTo>
                  <a:lnTo>
                    <a:pt x="252" y="0"/>
                  </a:lnTo>
                  <a:lnTo>
                    <a:pt x="282" y="0"/>
                  </a:lnTo>
                  <a:lnTo>
                    <a:pt x="282" y="0"/>
                  </a:lnTo>
                  <a:lnTo>
                    <a:pt x="310" y="0"/>
                  </a:lnTo>
                  <a:lnTo>
                    <a:pt x="338" y="6"/>
                  </a:lnTo>
                  <a:lnTo>
                    <a:pt x="364" y="12"/>
                  </a:lnTo>
                  <a:lnTo>
                    <a:pt x="390" y="22"/>
                  </a:lnTo>
                  <a:lnTo>
                    <a:pt x="416" y="34"/>
                  </a:lnTo>
                  <a:lnTo>
                    <a:pt x="438" y="48"/>
                  </a:lnTo>
                  <a:lnTo>
                    <a:pt x="460" y="64"/>
                  </a:lnTo>
                  <a:lnTo>
                    <a:pt x="480" y="82"/>
                  </a:lnTo>
                  <a:lnTo>
                    <a:pt x="498" y="102"/>
                  </a:lnTo>
                  <a:lnTo>
                    <a:pt x="514" y="124"/>
                  </a:lnTo>
                  <a:lnTo>
                    <a:pt x="528" y="146"/>
                  </a:lnTo>
                  <a:lnTo>
                    <a:pt x="540" y="172"/>
                  </a:lnTo>
                  <a:lnTo>
                    <a:pt x="550" y="198"/>
                  </a:lnTo>
                  <a:lnTo>
                    <a:pt x="556" y="224"/>
                  </a:lnTo>
                  <a:lnTo>
                    <a:pt x="562" y="252"/>
                  </a:lnTo>
                  <a:lnTo>
                    <a:pt x="562" y="282"/>
                  </a:lnTo>
                  <a:lnTo>
                    <a:pt x="562" y="282"/>
                  </a:lnTo>
                  <a:lnTo>
                    <a:pt x="562" y="302"/>
                  </a:lnTo>
                  <a:lnTo>
                    <a:pt x="560" y="324"/>
                  </a:lnTo>
                  <a:lnTo>
                    <a:pt x="556" y="344"/>
                  </a:lnTo>
                  <a:lnTo>
                    <a:pt x="550" y="364"/>
                  </a:lnTo>
                  <a:lnTo>
                    <a:pt x="544" y="384"/>
                  </a:lnTo>
                  <a:lnTo>
                    <a:pt x="536" y="402"/>
                  </a:lnTo>
                  <a:lnTo>
                    <a:pt x="526" y="420"/>
                  </a:lnTo>
                  <a:lnTo>
                    <a:pt x="516" y="438"/>
                  </a:lnTo>
                  <a:lnTo>
                    <a:pt x="504" y="454"/>
                  </a:lnTo>
                  <a:lnTo>
                    <a:pt x="490" y="470"/>
                  </a:lnTo>
                  <a:lnTo>
                    <a:pt x="476" y="484"/>
                  </a:lnTo>
                  <a:lnTo>
                    <a:pt x="462" y="498"/>
                  </a:lnTo>
                  <a:lnTo>
                    <a:pt x="444" y="510"/>
                  </a:lnTo>
                  <a:lnTo>
                    <a:pt x="428" y="522"/>
                  </a:lnTo>
                  <a:lnTo>
                    <a:pt x="408"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4" y="460"/>
                  </a:lnTo>
                  <a:lnTo>
                    <a:pt x="488" y="446"/>
                  </a:lnTo>
                  <a:lnTo>
                    <a:pt x="500" y="430"/>
                  </a:lnTo>
                  <a:lnTo>
                    <a:pt x="510" y="414"/>
                  </a:lnTo>
                  <a:lnTo>
                    <a:pt x="518" y="396"/>
                  </a:lnTo>
                  <a:lnTo>
                    <a:pt x="526" y="378"/>
                  </a:lnTo>
                  <a:lnTo>
                    <a:pt x="532" y="360"/>
                  </a:lnTo>
                  <a:lnTo>
                    <a:pt x="538" y="340"/>
                  </a:lnTo>
                  <a:lnTo>
                    <a:pt x="542" y="322"/>
                  </a:lnTo>
                  <a:lnTo>
                    <a:pt x="544" y="302"/>
                  </a:lnTo>
                  <a:lnTo>
                    <a:pt x="544" y="282"/>
                  </a:lnTo>
                  <a:lnTo>
                    <a:pt x="544" y="282"/>
                  </a:lnTo>
                  <a:lnTo>
                    <a:pt x="544" y="254"/>
                  </a:lnTo>
                  <a:lnTo>
                    <a:pt x="540" y="228"/>
                  </a:lnTo>
                  <a:lnTo>
                    <a:pt x="532" y="202"/>
                  </a:lnTo>
                  <a:lnTo>
                    <a:pt x="524" y="178"/>
                  </a:lnTo>
                  <a:lnTo>
                    <a:pt x="512" y="156"/>
                  </a:lnTo>
                  <a:lnTo>
                    <a:pt x="500" y="134"/>
                  </a:lnTo>
                  <a:lnTo>
                    <a:pt x="484" y="114"/>
                  </a:lnTo>
                  <a:lnTo>
                    <a:pt x="468" y="94"/>
                  </a:lnTo>
                  <a:lnTo>
                    <a:pt x="448" y="78"/>
                  </a:lnTo>
                  <a:lnTo>
                    <a:pt x="428" y="62"/>
                  </a:lnTo>
                  <a:lnTo>
                    <a:pt x="406" y="50"/>
                  </a:lnTo>
                  <a:lnTo>
                    <a:pt x="384" y="38"/>
                  </a:lnTo>
                  <a:lnTo>
                    <a:pt x="360" y="30"/>
                  </a:lnTo>
                  <a:lnTo>
                    <a:pt x="334" y="22"/>
                  </a:lnTo>
                  <a:lnTo>
                    <a:pt x="308" y="18"/>
                  </a:lnTo>
                  <a:lnTo>
                    <a:pt x="282" y="18"/>
                  </a:lnTo>
                  <a:lnTo>
                    <a:pt x="282" y="18"/>
                  </a:lnTo>
                  <a:lnTo>
                    <a:pt x="254" y="18"/>
                  </a:lnTo>
                  <a:lnTo>
                    <a:pt x="228" y="22"/>
                  </a:lnTo>
                  <a:lnTo>
                    <a:pt x="202" y="30"/>
                  </a:lnTo>
                  <a:lnTo>
                    <a:pt x="178" y="38"/>
                  </a:lnTo>
                  <a:lnTo>
                    <a:pt x="156" y="50"/>
                  </a:lnTo>
                  <a:lnTo>
                    <a:pt x="134" y="62"/>
                  </a:lnTo>
                  <a:lnTo>
                    <a:pt x="114" y="78"/>
                  </a:lnTo>
                  <a:lnTo>
                    <a:pt x="94" y="94"/>
                  </a:lnTo>
                  <a:lnTo>
                    <a:pt x="78" y="114"/>
                  </a:lnTo>
                  <a:lnTo>
                    <a:pt x="62" y="134"/>
                  </a:lnTo>
                  <a:lnTo>
                    <a:pt x="50" y="156"/>
                  </a:lnTo>
                  <a:lnTo>
                    <a:pt x="38" y="178"/>
                  </a:lnTo>
                  <a:lnTo>
                    <a:pt x="30" y="202"/>
                  </a:lnTo>
                  <a:lnTo>
                    <a:pt x="22" y="228"/>
                  </a:lnTo>
                  <a:lnTo>
                    <a:pt x="18"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5" name="Freeform 14">
              <a:extLst>
                <a:ext uri="{FF2B5EF4-FFF2-40B4-BE49-F238E27FC236}">
                  <a16:creationId xmlns:a16="http://schemas.microsoft.com/office/drawing/2014/main" id="{EF1D70FF-491C-4155-8405-8A677B1512ED}"/>
                </a:ext>
              </a:extLst>
            </p:cNvPr>
            <p:cNvSpPr>
              <a:spLocks noEditPoints="1"/>
            </p:cNvSpPr>
            <p:nvPr/>
          </p:nvSpPr>
          <p:spPr bwMode="black">
            <a:xfrm>
              <a:off x="2761" y="2580"/>
              <a:ext cx="114" cy="70"/>
            </a:xfrm>
            <a:custGeom>
              <a:avLst/>
              <a:gdLst>
                <a:gd name="T0" fmla="*/ 86 w 114"/>
                <a:gd name="T1" fmla="*/ 70 h 70"/>
                <a:gd name="T2" fmla="*/ 28 w 114"/>
                <a:gd name="T3" fmla="*/ 70 h 70"/>
                <a:gd name="T4" fmla="*/ 0 w 114"/>
                <a:gd name="T5" fmla="*/ 0 h 70"/>
                <a:gd name="T6" fmla="*/ 114 w 114"/>
                <a:gd name="T7" fmla="*/ 0 h 70"/>
                <a:gd name="T8" fmla="*/ 86 w 114"/>
                <a:gd name="T9" fmla="*/ 70 h 70"/>
                <a:gd name="T10" fmla="*/ 40 w 114"/>
                <a:gd name="T11" fmla="*/ 52 h 70"/>
                <a:gd name="T12" fmla="*/ 74 w 114"/>
                <a:gd name="T13" fmla="*/ 52 h 70"/>
                <a:gd name="T14" fmla="*/ 86 w 114"/>
                <a:gd name="T15" fmla="*/ 18 h 70"/>
                <a:gd name="T16" fmla="*/ 28 w 114"/>
                <a:gd name="T17" fmla="*/ 18 h 70"/>
                <a:gd name="T18" fmla="*/ 40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28" y="70"/>
                  </a:lnTo>
                  <a:lnTo>
                    <a:pt x="0" y="0"/>
                  </a:lnTo>
                  <a:lnTo>
                    <a:pt x="114" y="0"/>
                  </a:lnTo>
                  <a:lnTo>
                    <a:pt x="86" y="70"/>
                  </a:lnTo>
                  <a:close/>
                  <a:moveTo>
                    <a:pt x="40" y="52"/>
                  </a:moveTo>
                  <a:lnTo>
                    <a:pt x="74" y="52"/>
                  </a:lnTo>
                  <a:lnTo>
                    <a:pt x="86" y="18"/>
                  </a:lnTo>
                  <a:lnTo>
                    <a:pt x="28" y="18"/>
                  </a:lnTo>
                  <a:lnTo>
                    <a:pt x="40" y="52"/>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6" name="Rectangle 15">
              <a:extLst>
                <a:ext uri="{FF2B5EF4-FFF2-40B4-BE49-F238E27FC236}">
                  <a16:creationId xmlns:a16="http://schemas.microsoft.com/office/drawing/2014/main" id="{9520CE70-DEF1-49D8-831C-00BCB1792200}"/>
                </a:ext>
              </a:extLst>
            </p:cNvPr>
            <p:cNvSpPr>
              <a:spLocks noChangeArrowheads="1"/>
            </p:cNvSpPr>
            <p:nvPr/>
          </p:nvSpPr>
          <p:spPr bwMode="black">
            <a:xfrm>
              <a:off x="2661" y="2416"/>
              <a:ext cx="314"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7" name="Rectangle 16">
              <a:extLst>
                <a:ext uri="{FF2B5EF4-FFF2-40B4-BE49-F238E27FC236}">
                  <a16:creationId xmlns:a16="http://schemas.microsoft.com/office/drawing/2014/main" id="{7F76120E-954D-4338-9361-F5BC96580AED}"/>
                </a:ext>
              </a:extLst>
            </p:cNvPr>
            <p:cNvSpPr>
              <a:spLocks noChangeArrowheads="1"/>
            </p:cNvSpPr>
            <p:nvPr/>
          </p:nvSpPr>
          <p:spPr bwMode="black">
            <a:xfrm>
              <a:off x="2661" y="2466"/>
              <a:ext cx="314"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8" name="Rectangle 17">
              <a:extLst>
                <a:ext uri="{FF2B5EF4-FFF2-40B4-BE49-F238E27FC236}">
                  <a16:creationId xmlns:a16="http://schemas.microsoft.com/office/drawing/2014/main" id="{587C0754-EF8E-4CA8-8630-FD3CE7D535C6}"/>
                </a:ext>
              </a:extLst>
            </p:cNvPr>
            <p:cNvSpPr>
              <a:spLocks noChangeArrowheads="1"/>
            </p:cNvSpPr>
            <p:nvPr/>
          </p:nvSpPr>
          <p:spPr bwMode="black">
            <a:xfrm>
              <a:off x="2661" y="2518"/>
              <a:ext cx="314"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9" name="Rectangle 18">
              <a:extLst>
                <a:ext uri="{FF2B5EF4-FFF2-40B4-BE49-F238E27FC236}">
                  <a16:creationId xmlns:a16="http://schemas.microsoft.com/office/drawing/2014/main" id="{247F2A64-8FBE-4899-8664-D3C85C066030}"/>
                </a:ext>
              </a:extLst>
            </p:cNvPr>
            <p:cNvSpPr>
              <a:spLocks noChangeArrowheads="1"/>
            </p:cNvSpPr>
            <p:nvPr/>
          </p:nvSpPr>
          <p:spPr bwMode="black">
            <a:xfrm>
              <a:off x="2639" y="1790"/>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0" name="Rectangle 19">
              <a:extLst>
                <a:ext uri="{FF2B5EF4-FFF2-40B4-BE49-F238E27FC236}">
                  <a16:creationId xmlns:a16="http://schemas.microsoft.com/office/drawing/2014/main" id="{E6711C7D-5CC2-4197-8FFA-BDE250203929}"/>
                </a:ext>
              </a:extLst>
            </p:cNvPr>
            <p:cNvSpPr>
              <a:spLocks noChangeArrowheads="1"/>
            </p:cNvSpPr>
            <p:nvPr/>
          </p:nvSpPr>
          <p:spPr bwMode="black">
            <a:xfrm>
              <a:off x="2523" y="1896"/>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1" name="Rectangle 20">
              <a:extLst>
                <a:ext uri="{FF2B5EF4-FFF2-40B4-BE49-F238E27FC236}">
                  <a16:creationId xmlns:a16="http://schemas.microsoft.com/office/drawing/2014/main" id="{0BD9C184-8650-4FFB-B2AB-ED3976E91626}"/>
                </a:ext>
              </a:extLst>
            </p:cNvPr>
            <p:cNvSpPr>
              <a:spLocks noChangeArrowheads="1"/>
            </p:cNvSpPr>
            <p:nvPr/>
          </p:nvSpPr>
          <p:spPr bwMode="black">
            <a:xfrm>
              <a:off x="2809" y="1742"/>
              <a:ext cx="18" cy="32"/>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2" name="Rectangle 21">
              <a:extLst>
                <a:ext uri="{FF2B5EF4-FFF2-40B4-BE49-F238E27FC236}">
                  <a16:creationId xmlns:a16="http://schemas.microsoft.com/office/drawing/2014/main" id="{D2A8A3B4-C94D-421B-9662-D5F0BC85F477}"/>
                </a:ext>
              </a:extLst>
            </p:cNvPr>
            <p:cNvSpPr>
              <a:spLocks noChangeArrowheads="1"/>
            </p:cNvSpPr>
            <p:nvPr/>
          </p:nvSpPr>
          <p:spPr bwMode="black">
            <a:xfrm>
              <a:off x="2979" y="1790"/>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3" name="Rectangle 22">
              <a:extLst>
                <a:ext uri="{FF2B5EF4-FFF2-40B4-BE49-F238E27FC236}">
                  <a16:creationId xmlns:a16="http://schemas.microsoft.com/office/drawing/2014/main" id="{AF0774C4-1C1A-4E9B-8304-5B3BE168A606}"/>
                </a:ext>
              </a:extLst>
            </p:cNvPr>
            <p:cNvSpPr>
              <a:spLocks noChangeArrowheads="1"/>
            </p:cNvSpPr>
            <p:nvPr/>
          </p:nvSpPr>
          <p:spPr bwMode="black">
            <a:xfrm>
              <a:off x="3085" y="1896"/>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4" name="Rectangle 23">
              <a:extLst>
                <a:ext uri="{FF2B5EF4-FFF2-40B4-BE49-F238E27FC236}">
                  <a16:creationId xmlns:a16="http://schemas.microsoft.com/office/drawing/2014/main" id="{43474433-D298-4EFB-8E74-900C2584494C}"/>
                </a:ext>
              </a:extLst>
            </p:cNvPr>
            <p:cNvSpPr>
              <a:spLocks noChangeArrowheads="1"/>
            </p:cNvSpPr>
            <p:nvPr/>
          </p:nvSpPr>
          <p:spPr bwMode="black">
            <a:xfrm>
              <a:off x="2523" y="2236"/>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Rectangle 24">
              <a:extLst>
                <a:ext uri="{FF2B5EF4-FFF2-40B4-BE49-F238E27FC236}">
                  <a16:creationId xmlns:a16="http://schemas.microsoft.com/office/drawing/2014/main" id="{3311F757-6854-4D17-ACEF-BEB6A55672DF}"/>
                </a:ext>
              </a:extLst>
            </p:cNvPr>
            <p:cNvSpPr>
              <a:spLocks noChangeArrowheads="1"/>
            </p:cNvSpPr>
            <p:nvPr/>
          </p:nvSpPr>
          <p:spPr bwMode="black">
            <a:xfrm>
              <a:off x="3085" y="2236"/>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6" name="Rectangle 25">
              <a:extLst>
                <a:ext uri="{FF2B5EF4-FFF2-40B4-BE49-F238E27FC236}">
                  <a16:creationId xmlns:a16="http://schemas.microsoft.com/office/drawing/2014/main" id="{93DC517B-5092-4338-9A9E-418BD2BEB4CB}"/>
                </a:ext>
              </a:extLst>
            </p:cNvPr>
            <p:cNvSpPr>
              <a:spLocks noChangeArrowheads="1"/>
            </p:cNvSpPr>
            <p:nvPr/>
          </p:nvSpPr>
          <p:spPr bwMode="black">
            <a:xfrm>
              <a:off x="3133" y="2058"/>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7" name="Rectangle 26">
              <a:extLst>
                <a:ext uri="{FF2B5EF4-FFF2-40B4-BE49-F238E27FC236}">
                  <a16:creationId xmlns:a16="http://schemas.microsoft.com/office/drawing/2014/main" id="{8088B245-8876-4A55-9CE6-965142574218}"/>
                </a:ext>
              </a:extLst>
            </p:cNvPr>
            <p:cNvSpPr>
              <a:spLocks noChangeArrowheads="1"/>
            </p:cNvSpPr>
            <p:nvPr/>
          </p:nvSpPr>
          <p:spPr bwMode="black">
            <a:xfrm>
              <a:off x="2487" y="2058"/>
              <a:ext cx="18" cy="30"/>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8" name="Rectangle 27">
              <a:extLst>
                <a:ext uri="{FF2B5EF4-FFF2-40B4-BE49-F238E27FC236}">
                  <a16:creationId xmlns:a16="http://schemas.microsoft.com/office/drawing/2014/main" id="{9ACDEB9F-5880-417C-8700-E00C26E77B84}"/>
                </a:ext>
              </a:extLst>
            </p:cNvPr>
            <p:cNvSpPr>
              <a:spLocks noChangeArrowheads="1"/>
            </p:cNvSpPr>
            <p:nvPr/>
          </p:nvSpPr>
          <p:spPr bwMode="black">
            <a:xfrm>
              <a:off x="2779" y="2338"/>
              <a:ext cx="18" cy="96"/>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9" name="Rectangle 28">
              <a:extLst>
                <a:ext uri="{FF2B5EF4-FFF2-40B4-BE49-F238E27FC236}">
                  <a16:creationId xmlns:a16="http://schemas.microsoft.com/office/drawing/2014/main" id="{AC621F96-4F46-47E9-A309-D8A295283C0E}"/>
                </a:ext>
              </a:extLst>
            </p:cNvPr>
            <p:cNvSpPr>
              <a:spLocks noChangeArrowheads="1"/>
            </p:cNvSpPr>
            <p:nvPr/>
          </p:nvSpPr>
          <p:spPr bwMode="black">
            <a:xfrm>
              <a:off x="2839" y="2338"/>
              <a:ext cx="18" cy="96"/>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0" name="Freeform 29">
              <a:extLst>
                <a:ext uri="{FF2B5EF4-FFF2-40B4-BE49-F238E27FC236}">
                  <a16:creationId xmlns:a16="http://schemas.microsoft.com/office/drawing/2014/main" id="{A57CC87F-F397-44D1-A6C2-6B8F23815711}"/>
                </a:ext>
              </a:extLst>
            </p:cNvPr>
            <p:cNvSpPr>
              <a:spLocks noEditPoints="1"/>
            </p:cNvSpPr>
            <p:nvPr/>
          </p:nvSpPr>
          <p:spPr bwMode="black">
            <a:xfrm>
              <a:off x="2607" y="1870"/>
              <a:ext cx="422" cy="420"/>
            </a:xfrm>
            <a:custGeom>
              <a:avLst/>
              <a:gdLst>
                <a:gd name="T0" fmla="*/ 172 w 422"/>
                <a:gd name="T1" fmla="*/ 372 h 420"/>
                <a:gd name="T2" fmla="*/ 124 w 422"/>
                <a:gd name="T3" fmla="*/ 352 h 420"/>
                <a:gd name="T4" fmla="*/ 68 w 422"/>
                <a:gd name="T5" fmla="*/ 298 h 420"/>
                <a:gd name="T6" fmla="*/ 48 w 422"/>
                <a:gd name="T7" fmla="*/ 248 h 420"/>
                <a:gd name="T8" fmla="*/ 48 w 422"/>
                <a:gd name="T9" fmla="*/ 170 h 420"/>
                <a:gd name="T10" fmla="*/ 68 w 422"/>
                <a:gd name="T11" fmla="*/ 122 h 420"/>
                <a:gd name="T12" fmla="*/ 124 w 422"/>
                <a:gd name="T13" fmla="*/ 68 h 420"/>
                <a:gd name="T14" fmla="*/ 172 w 422"/>
                <a:gd name="T15" fmla="*/ 48 h 420"/>
                <a:gd name="T16" fmla="*/ 250 w 422"/>
                <a:gd name="T17" fmla="*/ 48 h 420"/>
                <a:gd name="T18" fmla="*/ 298 w 422"/>
                <a:gd name="T19" fmla="*/ 68 h 420"/>
                <a:gd name="T20" fmla="*/ 354 w 422"/>
                <a:gd name="T21" fmla="*/ 122 h 420"/>
                <a:gd name="T22" fmla="*/ 374 w 422"/>
                <a:gd name="T23" fmla="*/ 170 h 420"/>
                <a:gd name="T24" fmla="*/ 374 w 422"/>
                <a:gd name="T25" fmla="*/ 248 h 420"/>
                <a:gd name="T26" fmla="*/ 354 w 422"/>
                <a:gd name="T27" fmla="*/ 298 h 420"/>
                <a:gd name="T28" fmla="*/ 298 w 422"/>
                <a:gd name="T29" fmla="*/ 352 h 420"/>
                <a:gd name="T30" fmla="*/ 250 w 422"/>
                <a:gd name="T31" fmla="*/ 372 h 420"/>
                <a:gd name="T32" fmla="*/ 232 w 422"/>
                <a:gd name="T33" fmla="*/ 402 h 420"/>
                <a:gd name="T34" fmla="*/ 240 w 422"/>
                <a:gd name="T35" fmla="*/ 356 h 420"/>
                <a:gd name="T36" fmla="*/ 282 w 422"/>
                <a:gd name="T37" fmla="*/ 340 h 420"/>
                <a:gd name="T38" fmla="*/ 332 w 422"/>
                <a:gd name="T39" fmla="*/ 360 h 420"/>
                <a:gd name="T40" fmla="*/ 334 w 422"/>
                <a:gd name="T41" fmla="*/ 294 h 420"/>
                <a:gd name="T42" fmla="*/ 348 w 422"/>
                <a:gd name="T43" fmla="*/ 266 h 420"/>
                <a:gd name="T44" fmla="*/ 358 w 422"/>
                <a:gd name="T45" fmla="*/ 230 h 420"/>
                <a:gd name="T46" fmla="*/ 358 w 422"/>
                <a:gd name="T47" fmla="*/ 188 h 420"/>
                <a:gd name="T48" fmla="*/ 354 w 422"/>
                <a:gd name="T49" fmla="*/ 166 h 420"/>
                <a:gd name="T50" fmla="*/ 334 w 422"/>
                <a:gd name="T51" fmla="*/ 126 h 420"/>
                <a:gd name="T52" fmla="*/ 332 w 422"/>
                <a:gd name="T53" fmla="*/ 60 h 420"/>
                <a:gd name="T54" fmla="*/ 294 w 422"/>
                <a:gd name="T55" fmla="*/ 86 h 420"/>
                <a:gd name="T56" fmla="*/ 254 w 422"/>
                <a:gd name="T57" fmla="*/ 68 h 420"/>
                <a:gd name="T58" fmla="*/ 232 w 422"/>
                <a:gd name="T59" fmla="*/ 18 h 420"/>
                <a:gd name="T60" fmla="*/ 182 w 422"/>
                <a:gd name="T61" fmla="*/ 64 h 420"/>
                <a:gd name="T62" fmla="*/ 154 w 422"/>
                <a:gd name="T63" fmla="*/ 72 h 420"/>
                <a:gd name="T64" fmla="*/ 122 w 422"/>
                <a:gd name="T65" fmla="*/ 90 h 420"/>
                <a:gd name="T66" fmla="*/ 92 w 422"/>
                <a:gd name="T67" fmla="*/ 120 h 420"/>
                <a:gd name="T68" fmla="*/ 80 w 422"/>
                <a:gd name="T69" fmla="*/ 140 h 420"/>
                <a:gd name="T70" fmla="*/ 64 w 422"/>
                <a:gd name="T71" fmla="*/ 182 h 420"/>
                <a:gd name="T72" fmla="*/ 18 w 422"/>
                <a:gd name="T73" fmla="*/ 230 h 420"/>
                <a:gd name="T74" fmla="*/ 64 w 422"/>
                <a:gd name="T75" fmla="*/ 238 h 420"/>
                <a:gd name="T76" fmla="*/ 80 w 422"/>
                <a:gd name="T77" fmla="*/ 280 h 420"/>
                <a:gd name="T78" fmla="*/ 60 w 422"/>
                <a:gd name="T79" fmla="*/ 330 h 420"/>
                <a:gd name="T80" fmla="*/ 128 w 422"/>
                <a:gd name="T81" fmla="*/ 332 h 420"/>
                <a:gd name="T82" fmla="*/ 154 w 422"/>
                <a:gd name="T83" fmla="*/ 348 h 420"/>
                <a:gd name="T84" fmla="*/ 190 w 422"/>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420">
                  <a:moveTo>
                    <a:pt x="250" y="420"/>
                  </a:moveTo>
                  <a:lnTo>
                    <a:pt x="172" y="420"/>
                  </a:lnTo>
                  <a:lnTo>
                    <a:pt x="172" y="372"/>
                  </a:lnTo>
                  <a:lnTo>
                    <a:pt x="172" y="372"/>
                  </a:lnTo>
                  <a:lnTo>
                    <a:pt x="148" y="364"/>
                  </a:lnTo>
                  <a:lnTo>
                    <a:pt x="124" y="352"/>
                  </a:lnTo>
                  <a:lnTo>
                    <a:pt x="90"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90" y="34"/>
                  </a:lnTo>
                  <a:lnTo>
                    <a:pt x="124" y="68"/>
                  </a:lnTo>
                  <a:lnTo>
                    <a:pt x="124" y="68"/>
                  </a:lnTo>
                  <a:lnTo>
                    <a:pt x="148" y="56"/>
                  </a:lnTo>
                  <a:lnTo>
                    <a:pt x="172" y="48"/>
                  </a:lnTo>
                  <a:lnTo>
                    <a:pt x="172" y="0"/>
                  </a:lnTo>
                  <a:lnTo>
                    <a:pt x="250" y="0"/>
                  </a:lnTo>
                  <a:lnTo>
                    <a:pt x="250" y="48"/>
                  </a:lnTo>
                  <a:lnTo>
                    <a:pt x="250" y="48"/>
                  </a:lnTo>
                  <a:lnTo>
                    <a:pt x="274" y="56"/>
                  </a:lnTo>
                  <a:lnTo>
                    <a:pt x="298" y="68"/>
                  </a:lnTo>
                  <a:lnTo>
                    <a:pt x="332" y="34"/>
                  </a:lnTo>
                  <a:lnTo>
                    <a:pt x="388" y="88"/>
                  </a:lnTo>
                  <a:lnTo>
                    <a:pt x="354" y="122"/>
                  </a:lnTo>
                  <a:lnTo>
                    <a:pt x="354" y="122"/>
                  </a:lnTo>
                  <a:lnTo>
                    <a:pt x="366" y="146"/>
                  </a:lnTo>
                  <a:lnTo>
                    <a:pt x="374" y="170"/>
                  </a:lnTo>
                  <a:lnTo>
                    <a:pt x="422" y="170"/>
                  </a:lnTo>
                  <a:lnTo>
                    <a:pt x="422" y="248"/>
                  </a:lnTo>
                  <a:lnTo>
                    <a:pt x="374" y="248"/>
                  </a:lnTo>
                  <a:lnTo>
                    <a:pt x="374" y="248"/>
                  </a:lnTo>
                  <a:lnTo>
                    <a:pt x="366" y="274"/>
                  </a:lnTo>
                  <a:lnTo>
                    <a:pt x="354" y="298"/>
                  </a:lnTo>
                  <a:lnTo>
                    <a:pt x="388" y="330"/>
                  </a:lnTo>
                  <a:lnTo>
                    <a:pt x="332" y="386"/>
                  </a:lnTo>
                  <a:lnTo>
                    <a:pt x="298" y="352"/>
                  </a:lnTo>
                  <a:lnTo>
                    <a:pt x="298" y="352"/>
                  </a:lnTo>
                  <a:lnTo>
                    <a:pt x="274" y="364"/>
                  </a:lnTo>
                  <a:lnTo>
                    <a:pt x="250" y="372"/>
                  </a:lnTo>
                  <a:lnTo>
                    <a:pt x="250" y="420"/>
                  </a:lnTo>
                  <a:close/>
                  <a:moveTo>
                    <a:pt x="190" y="402"/>
                  </a:moveTo>
                  <a:lnTo>
                    <a:pt x="232" y="402"/>
                  </a:lnTo>
                  <a:lnTo>
                    <a:pt x="232" y="358"/>
                  </a:lnTo>
                  <a:lnTo>
                    <a:pt x="240" y="356"/>
                  </a:lnTo>
                  <a:lnTo>
                    <a:pt x="240" y="356"/>
                  </a:lnTo>
                  <a:lnTo>
                    <a:pt x="254" y="352"/>
                  </a:lnTo>
                  <a:lnTo>
                    <a:pt x="268" y="348"/>
                  </a:lnTo>
                  <a:lnTo>
                    <a:pt x="282" y="340"/>
                  </a:lnTo>
                  <a:lnTo>
                    <a:pt x="294" y="332"/>
                  </a:lnTo>
                  <a:lnTo>
                    <a:pt x="300" y="328"/>
                  </a:lnTo>
                  <a:lnTo>
                    <a:pt x="332" y="360"/>
                  </a:lnTo>
                  <a:lnTo>
                    <a:pt x="362" y="330"/>
                  </a:lnTo>
                  <a:lnTo>
                    <a:pt x="330" y="300"/>
                  </a:lnTo>
                  <a:lnTo>
                    <a:pt x="334" y="294"/>
                  </a:lnTo>
                  <a:lnTo>
                    <a:pt x="334" y="294"/>
                  </a:lnTo>
                  <a:lnTo>
                    <a:pt x="342" y="280"/>
                  </a:lnTo>
                  <a:lnTo>
                    <a:pt x="348" y="266"/>
                  </a:lnTo>
                  <a:lnTo>
                    <a:pt x="354" y="252"/>
                  </a:lnTo>
                  <a:lnTo>
                    <a:pt x="358" y="238"/>
                  </a:lnTo>
                  <a:lnTo>
                    <a:pt x="358" y="230"/>
                  </a:lnTo>
                  <a:lnTo>
                    <a:pt x="404" y="230"/>
                  </a:lnTo>
                  <a:lnTo>
                    <a:pt x="404" y="188"/>
                  </a:lnTo>
                  <a:lnTo>
                    <a:pt x="358" y="188"/>
                  </a:lnTo>
                  <a:lnTo>
                    <a:pt x="358" y="182"/>
                  </a:lnTo>
                  <a:lnTo>
                    <a:pt x="358" y="182"/>
                  </a:lnTo>
                  <a:lnTo>
                    <a:pt x="354" y="166"/>
                  </a:lnTo>
                  <a:lnTo>
                    <a:pt x="348" y="152"/>
                  </a:lnTo>
                  <a:lnTo>
                    <a:pt x="342" y="140"/>
                  </a:lnTo>
                  <a:lnTo>
                    <a:pt x="334" y="126"/>
                  </a:lnTo>
                  <a:lnTo>
                    <a:pt x="330" y="120"/>
                  </a:lnTo>
                  <a:lnTo>
                    <a:pt x="362" y="88"/>
                  </a:lnTo>
                  <a:lnTo>
                    <a:pt x="332" y="60"/>
                  </a:lnTo>
                  <a:lnTo>
                    <a:pt x="300" y="90"/>
                  </a:lnTo>
                  <a:lnTo>
                    <a:pt x="294" y="86"/>
                  </a:lnTo>
                  <a:lnTo>
                    <a:pt x="294" y="86"/>
                  </a:lnTo>
                  <a:lnTo>
                    <a:pt x="282" y="78"/>
                  </a:lnTo>
                  <a:lnTo>
                    <a:pt x="268" y="72"/>
                  </a:lnTo>
                  <a:lnTo>
                    <a:pt x="254" y="68"/>
                  </a:lnTo>
                  <a:lnTo>
                    <a:pt x="240" y="64"/>
                  </a:lnTo>
                  <a:lnTo>
                    <a:pt x="232" y="62"/>
                  </a:lnTo>
                  <a:lnTo>
                    <a:pt x="232" y="18"/>
                  </a:lnTo>
                  <a:lnTo>
                    <a:pt x="190" y="18"/>
                  </a:lnTo>
                  <a:lnTo>
                    <a:pt x="190" y="62"/>
                  </a:lnTo>
                  <a:lnTo>
                    <a:pt x="182" y="64"/>
                  </a:lnTo>
                  <a:lnTo>
                    <a:pt x="182" y="64"/>
                  </a:lnTo>
                  <a:lnTo>
                    <a:pt x="168" y="68"/>
                  </a:lnTo>
                  <a:lnTo>
                    <a:pt x="154" y="72"/>
                  </a:lnTo>
                  <a:lnTo>
                    <a:pt x="140" y="78"/>
                  </a:lnTo>
                  <a:lnTo>
                    <a:pt x="128" y="86"/>
                  </a:lnTo>
                  <a:lnTo>
                    <a:pt x="122" y="90"/>
                  </a:lnTo>
                  <a:lnTo>
                    <a:pt x="90" y="60"/>
                  </a:lnTo>
                  <a:lnTo>
                    <a:pt x="60" y="88"/>
                  </a:lnTo>
                  <a:lnTo>
                    <a:pt x="92" y="120"/>
                  </a:lnTo>
                  <a:lnTo>
                    <a:pt x="88" y="126"/>
                  </a:lnTo>
                  <a:lnTo>
                    <a:pt x="88" y="126"/>
                  </a:lnTo>
                  <a:lnTo>
                    <a:pt x="80" y="140"/>
                  </a:lnTo>
                  <a:lnTo>
                    <a:pt x="74" y="152"/>
                  </a:lnTo>
                  <a:lnTo>
                    <a:pt x="68" y="166"/>
                  </a:lnTo>
                  <a:lnTo>
                    <a:pt x="64" y="182"/>
                  </a:lnTo>
                  <a:lnTo>
                    <a:pt x="64" y="188"/>
                  </a:lnTo>
                  <a:lnTo>
                    <a:pt x="18" y="188"/>
                  </a:lnTo>
                  <a:lnTo>
                    <a:pt x="18" y="230"/>
                  </a:lnTo>
                  <a:lnTo>
                    <a:pt x="64" y="230"/>
                  </a:lnTo>
                  <a:lnTo>
                    <a:pt x="64" y="238"/>
                  </a:lnTo>
                  <a:lnTo>
                    <a:pt x="64" y="238"/>
                  </a:lnTo>
                  <a:lnTo>
                    <a:pt x="68" y="252"/>
                  </a:lnTo>
                  <a:lnTo>
                    <a:pt x="74" y="266"/>
                  </a:lnTo>
                  <a:lnTo>
                    <a:pt x="80" y="280"/>
                  </a:lnTo>
                  <a:lnTo>
                    <a:pt x="88" y="294"/>
                  </a:lnTo>
                  <a:lnTo>
                    <a:pt x="92" y="300"/>
                  </a:lnTo>
                  <a:lnTo>
                    <a:pt x="60" y="330"/>
                  </a:lnTo>
                  <a:lnTo>
                    <a:pt x="90" y="360"/>
                  </a:lnTo>
                  <a:lnTo>
                    <a:pt x="122" y="328"/>
                  </a:lnTo>
                  <a:lnTo>
                    <a:pt x="128" y="332"/>
                  </a:lnTo>
                  <a:lnTo>
                    <a:pt x="128" y="332"/>
                  </a:lnTo>
                  <a:lnTo>
                    <a:pt x="140" y="340"/>
                  </a:lnTo>
                  <a:lnTo>
                    <a:pt x="154" y="348"/>
                  </a:lnTo>
                  <a:lnTo>
                    <a:pt x="168" y="352"/>
                  </a:lnTo>
                  <a:lnTo>
                    <a:pt x="182" y="356"/>
                  </a:lnTo>
                  <a:lnTo>
                    <a:pt x="190" y="358"/>
                  </a:lnTo>
                  <a:lnTo>
                    <a:pt x="190" y="402"/>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1" name="Freeform 30">
              <a:extLst>
                <a:ext uri="{FF2B5EF4-FFF2-40B4-BE49-F238E27FC236}">
                  <a16:creationId xmlns:a16="http://schemas.microsoft.com/office/drawing/2014/main" id="{98A12167-97AB-49F1-9E82-746045AE1880}"/>
                </a:ext>
              </a:extLst>
            </p:cNvPr>
            <p:cNvSpPr>
              <a:spLocks noEditPoints="1"/>
            </p:cNvSpPr>
            <p:nvPr/>
          </p:nvSpPr>
          <p:spPr bwMode="black">
            <a:xfrm>
              <a:off x="2707" y="1968"/>
              <a:ext cx="222" cy="224"/>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18 w 222"/>
                <a:gd name="T13" fmla="*/ 50 h 224"/>
                <a:gd name="T14" fmla="*/ 48 w 222"/>
                <a:gd name="T15" fmla="*/ 20 h 224"/>
                <a:gd name="T16" fmla="*/ 88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4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58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2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88" y="220"/>
                  </a:lnTo>
                  <a:lnTo>
                    <a:pt x="68" y="214"/>
                  </a:lnTo>
                  <a:lnTo>
                    <a:pt x="48" y="204"/>
                  </a:lnTo>
                  <a:lnTo>
                    <a:pt x="32" y="190"/>
                  </a:lnTo>
                  <a:lnTo>
                    <a:pt x="18" y="174"/>
                  </a:lnTo>
                  <a:lnTo>
                    <a:pt x="8" y="156"/>
                  </a:lnTo>
                  <a:lnTo>
                    <a:pt x="2" y="134"/>
                  </a:lnTo>
                  <a:lnTo>
                    <a:pt x="0" y="112"/>
                  </a:lnTo>
                  <a:lnTo>
                    <a:pt x="0" y="112"/>
                  </a:lnTo>
                  <a:lnTo>
                    <a:pt x="2" y="90"/>
                  </a:lnTo>
                  <a:lnTo>
                    <a:pt x="8" y="68"/>
                  </a:lnTo>
                  <a:lnTo>
                    <a:pt x="18" y="50"/>
                  </a:lnTo>
                  <a:lnTo>
                    <a:pt x="32" y="34"/>
                  </a:lnTo>
                  <a:lnTo>
                    <a:pt x="48" y="20"/>
                  </a:lnTo>
                  <a:lnTo>
                    <a:pt x="68" y="10"/>
                  </a:lnTo>
                  <a:lnTo>
                    <a:pt x="88"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4" y="26"/>
                  </a:lnTo>
                  <a:lnTo>
                    <a:pt x="58" y="34"/>
                  </a:lnTo>
                  <a:lnTo>
                    <a:pt x="46" y="46"/>
                  </a:lnTo>
                  <a:lnTo>
                    <a:pt x="34" y="60"/>
                  </a:lnTo>
                  <a:lnTo>
                    <a:pt x="26" y="76"/>
                  </a:lnTo>
                  <a:lnTo>
                    <a:pt x="20" y="92"/>
                  </a:lnTo>
                  <a:lnTo>
                    <a:pt x="18" y="112"/>
                  </a:lnTo>
                  <a:lnTo>
                    <a:pt x="18" y="112"/>
                  </a:lnTo>
                  <a:lnTo>
                    <a:pt x="20" y="130"/>
                  </a:lnTo>
                  <a:lnTo>
                    <a:pt x="26" y="148"/>
                  </a:lnTo>
                  <a:lnTo>
                    <a:pt x="34" y="164"/>
                  </a:lnTo>
                  <a:lnTo>
                    <a:pt x="46" y="178"/>
                  </a:lnTo>
                  <a:lnTo>
                    <a:pt x="58" y="190"/>
                  </a:lnTo>
                  <a:lnTo>
                    <a:pt x="74" y="198"/>
                  </a:lnTo>
                  <a:lnTo>
                    <a:pt x="92" y="204"/>
                  </a:lnTo>
                  <a:lnTo>
                    <a:pt x="112" y="206"/>
                  </a:lnTo>
                  <a:lnTo>
                    <a:pt x="112" y="206"/>
                  </a:lnTo>
                  <a:lnTo>
                    <a:pt x="130" y="204"/>
                  </a:lnTo>
                  <a:lnTo>
                    <a:pt x="148" y="198"/>
                  </a:lnTo>
                  <a:lnTo>
                    <a:pt x="164" y="190"/>
                  </a:lnTo>
                  <a:lnTo>
                    <a:pt x="178" y="178"/>
                  </a:lnTo>
                  <a:lnTo>
                    <a:pt x="188" y="164"/>
                  </a:lnTo>
                  <a:lnTo>
                    <a:pt x="198" y="148"/>
                  </a:lnTo>
                  <a:lnTo>
                    <a:pt x="202" y="130"/>
                  </a:lnTo>
                  <a:lnTo>
                    <a:pt x="204" y="112"/>
                  </a:lnTo>
                  <a:lnTo>
                    <a:pt x="204" y="112"/>
                  </a:lnTo>
                  <a:lnTo>
                    <a:pt x="202" y="92"/>
                  </a:lnTo>
                  <a:lnTo>
                    <a:pt x="198" y="76"/>
                  </a:lnTo>
                  <a:lnTo>
                    <a:pt x="188" y="60"/>
                  </a:lnTo>
                  <a:lnTo>
                    <a:pt x="178" y="46"/>
                  </a:lnTo>
                  <a:lnTo>
                    <a:pt x="164" y="34"/>
                  </a:lnTo>
                  <a:lnTo>
                    <a:pt x="148" y="26"/>
                  </a:lnTo>
                  <a:lnTo>
                    <a:pt x="130" y="20"/>
                  </a:lnTo>
                  <a:lnTo>
                    <a:pt x="112" y="18"/>
                  </a:lnTo>
                  <a:lnTo>
                    <a:pt x="112" y="18"/>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grpSp>
      <p:grpSp>
        <p:nvGrpSpPr>
          <p:cNvPr id="32" name="Group 33">
            <a:extLst>
              <a:ext uri="{FF2B5EF4-FFF2-40B4-BE49-F238E27FC236}">
                <a16:creationId xmlns:a16="http://schemas.microsoft.com/office/drawing/2014/main" id="{459C072A-051F-42EC-9FF9-49CD2D57506D}"/>
              </a:ext>
            </a:extLst>
          </p:cNvPr>
          <p:cNvGrpSpPr>
            <a:grpSpLocks noChangeAspect="1"/>
          </p:cNvGrpSpPr>
          <p:nvPr/>
        </p:nvGrpSpPr>
        <p:grpSpPr bwMode="black">
          <a:xfrm>
            <a:off x="6885649" y="2254297"/>
            <a:ext cx="1328283" cy="1440217"/>
            <a:chOff x="4039" y="1810"/>
            <a:chExt cx="712" cy="772"/>
          </a:xfrm>
          <a:solidFill>
            <a:schemeClr val="bg1"/>
          </a:solidFill>
        </p:grpSpPr>
        <p:sp>
          <p:nvSpPr>
            <p:cNvPr id="33" name="Freeform 34">
              <a:extLst>
                <a:ext uri="{FF2B5EF4-FFF2-40B4-BE49-F238E27FC236}">
                  <a16:creationId xmlns:a16="http://schemas.microsoft.com/office/drawing/2014/main" id="{31F9512F-EEE0-41AD-B64C-4268C2E55F09}"/>
                </a:ext>
              </a:extLst>
            </p:cNvPr>
            <p:cNvSpPr>
              <a:spLocks/>
            </p:cNvSpPr>
            <p:nvPr/>
          </p:nvSpPr>
          <p:spPr bwMode="black">
            <a:xfrm>
              <a:off x="4039" y="1810"/>
              <a:ext cx="574" cy="772"/>
            </a:xfrm>
            <a:custGeom>
              <a:avLst/>
              <a:gdLst>
                <a:gd name="T0" fmla="*/ 574 w 574"/>
                <a:gd name="T1" fmla="*/ 772 h 772"/>
                <a:gd name="T2" fmla="*/ 0 w 574"/>
                <a:gd name="T3" fmla="*/ 772 h 772"/>
                <a:gd name="T4" fmla="*/ 0 w 574"/>
                <a:gd name="T5" fmla="*/ 48 h 772"/>
                <a:gd name="T6" fmla="*/ 230 w 574"/>
                <a:gd name="T7" fmla="*/ 48 h 772"/>
                <a:gd name="T8" fmla="*/ 230 w 574"/>
                <a:gd name="T9" fmla="*/ 48 h 772"/>
                <a:gd name="T10" fmla="*/ 232 w 574"/>
                <a:gd name="T11" fmla="*/ 38 h 772"/>
                <a:gd name="T12" fmla="*/ 236 w 574"/>
                <a:gd name="T13" fmla="*/ 28 h 772"/>
                <a:gd name="T14" fmla="*/ 242 w 574"/>
                <a:gd name="T15" fmla="*/ 20 h 772"/>
                <a:gd name="T16" fmla="*/ 250 w 574"/>
                <a:gd name="T17" fmla="*/ 12 h 772"/>
                <a:gd name="T18" fmla="*/ 258 w 574"/>
                <a:gd name="T19" fmla="*/ 8 h 772"/>
                <a:gd name="T20" fmla="*/ 266 w 574"/>
                <a:gd name="T21" fmla="*/ 2 h 772"/>
                <a:gd name="T22" fmla="*/ 276 w 574"/>
                <a:gd name="T23" fmla="*/ 0 h 772"/>
                <a:gd name="T24" fmla="*/ 286 w 574"/>
                <a:gd name="T25" fmla="*/ 0 h 772"/>
                <a:gd name="T26" fmla="*/ 286 w 574"/>
                <a:gd name="T27" fmla="*/ 0 h 772"/>
                <a:gd name="T28" fmla="*/ 298 w 574"/>
                <a:gd name="T29" fmla="*/ 0 h 772"/>
                <a:gd name="T30" fmla="*/ 306 w 574"/>
                <a:gd name="T31" fmla="*/ 2 h 772"/>
                <a:gd name="T32" fmla="*/ 316 w 574"/>
                <a:gd name="T33" fmla="*/ 8 h 772"/>
                <a:gd name="T34" fmla="*/ 324 w 574"/>
                <a:gd name="T35" fmla="*/ 12 h 772"/>
                <a:gd name="T36" fmla="*/ 330 w 574"/>
                <a:gd name="T37" fmla="*/ 20 h 772"/>
                <a:gd name="T38" fmla="*/ 336 w 574"/>
                <a:gd name="T39" fmla="*/ 28 h 772"/>
                <a:gd name="T40" fmla="*/ 340 w 574"/>
                <a:gd name="T41" fmla="*/ 38 h 772"/>
                <a:gd name="T42" fmla="*/ 344 w 574"/>
                <a:gd name="T43" fmla="*/ 48 h 772"/>
                <a:gd name="T44" fmla="*/ 574 w 574"/>
                <a:gd name="T45" fmla="*/ 48 h 772"/>
                <a:gd name="T46" fmla="*/ 574 w 574"/>
                <a:gd name="T47" fmla="*/ 246 h 772"/>
                <a:gd name="T48" fmla="*/ 556 w 574"/>
                <a:gd name="T49" fmla="*/ 246 h 772"/>
                <a:gd name="T50" fmla="*/ 556 w 574"/>
                <a:gd name="T51" fmla="*/ 66 h 772"/>
                <a:gd name="T52" fmla="*/ 326 w 574"/>
                <a:gd name="T53" fmla="*/ 66 h 772"/>
                <a:gd name="T54" fmla="*/ 326 w 574"/>
                <a:gd name="T55" fmla="*/ 56 h 772"/>
                <a:gd name="T56" fmla="*/ 326 w 574"/>
                <a:gd name="T57" fmla="*/ 56 h 772"/>
                <a:gd name="T58" fmla="*/ 326 w 574"/>
                <a:gd name="T59" fmla="*/ 48 h 772"/>
                <a:gd name="T60" fmla="*/ 322 w 574"/>
                <a:gd name="T61" fmla="*/ 40 h 772"/>
                <a:gd name="T62" fmla="*/ 320 w 574"/>
                <a:gd name="T63" fmla="*/ 34 h 772"/>
                <a:gd name="T64" fmla="*/ 314 w 574"/>
                <a:gd name="T65" fmla="*/ 28 h 772"/>
                <a:gd name="T66" fmla="*/ 308 w 574"/>
                <a:gd name="T67" fmla="*/ 24 h 772"/>
                <a:gd name="T68" fmla="*/ 302 w 574"/>
                <a:gd name="T69" fmla="*/ 20 h 772"/>
                <a:gd name="T70" fmla="*/ 294 w 574"/>
                <a:gd name="T71" fmla="*/ 18 h 772"/>
                <a:gd name="T72" fmla="*/ 286 w 574"/>
                <a:gd name="T73" fmla="*/ 18 h 772"/>
                <a:gd name="T74" fmla="*/ 286 w 574"/>
                <a:gd name="T75" fmla="*/ 18 h 772"/>
                <a:gd name="T76" fmla="*/ 278 w 574"/>
                <a:gd name="T77" fmla="*/ 18 h 772"/>
                <a:gd name="T78" fmla="*/ 272 w 574"/>
                <a:gd name="T79" fmla="*/ 20 h 772"/>
                <a:gd name="T80" fmla="*/ 264 w 574"/>
                <a:gd name="T81" fmla="*/ 24 h 772"/>
                <a:gd name="T82" fmla="*/ 258 w 574"/>
                <a:gd name="T83" fmla="*/ 28 h 772"/>
                <a:gd name="T84" fmla="*/ 254 w 574"/>
                <a:gd name="T85" fmla="*/ 34 h 772"/>
                <a:gd name="T86" fmla="*/ 250 w 574"/>
                <a:gd name="T87" fmla="*/ 40 h 772"/>
                <a:gd name="T88" fmla="*/ 248 w 574"/>
                <a:gd name="T89" fmla="*/ 48 h 772"/>
                <a:gd name="T90" fmla="*/ 248 w 574"/>
                <a:gd name="T91" fmla="*/ 56 h 772"/>
                <a:gd name="T92" fmla="*/ 248 w 574"/>
                <a:gd name="T93" fmla="*/ 66 h 772"/>
                <a:gd name="T94" fmla="*/ 18 w 574"/>
                <a:gd name="T95" fmla="*/ 66 h 772"/>
                <a:gd name="T96" fmla="*/ 18 w 574"/>
                <a:gd name="T97" fmla="*/ 754 h 772"/>
                <a:gd name="T98" fmla="*/ 556 w 574"/>
                <a:gd name="T99" fmla="*/ 754 h 772"/>
                <a:gd name="T100" fmla="*/ 556 w 574"/>
                <a:gd name="T101" fmla="*/ 644 h 772"/>
                <a:gd name="T102" fmla="*/ 574 w 574"/>
                <a:gd name="T103" fmla="*/ 644 h 772"/>
                <a:gd name="T104" fmla="*/ 574 w 574"/>
                <a:gd name="T105"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772">
                  <a:moveTo>
                    <a:pt x="574" y="772"/>
                  </a:moveTo>
                  <a:lnTo>
                    <a:pt x="0" y="772"/>
                  </a:lnTo>
                  <a:lnTo>
                    <a:pt x="0" y="48"/>
                  </a:lnTo>
                  <a:lnTo>
                    <a:pt x="230" y="48"/>
                  </a:lnTo>
                  <a:lnTo>
                    <a:pt x="230" y="48"/>
                  </a:lnTo>
                  <a:lnTo>
                    <a:pt x="232" y="38"/>
                  </a:lnTo>
                  <a:lnTo>
                    <a:pt x="236" y="28"/>
                  </a:lnTo>
                  <a:lnTo>
                    <a:pt x="242" y="20"/>
                  </a:lnTo>
                  <a:lnTo>
                    <a:pt x="250" y="12"/>
                  </a:lnTo>
                  <a:lnTo>
                    <a:pt x="258" y="8"/>
                  </a:lnTo>
                  <a:lnTo>
                    <a:pt x="266" y="2"/>
                  </a:lnTo>
                  <a:lnTo>
                    <a:pt x="276" y="0"/>
                  </a:lnTo>
                  <a:lnTo>
                    <a:pt x="286" y="0"/>
                  </a:lnTo>
                  <a:lnTo>
                    <a:pt x="286" y="0"/>
                  </a:lnTo>
                  <a:lnTo>
                    <a:pt x="298" y="0"/>
                  </a:lnTo>
                  <a:lnTo>
                    <a:pt x="306" y="2"/>
                  </a:lnTo>
                  <a:lnTo>
                    <a:pt x="316" y="8"/>
                  </a:lnTo>
                  <a:lnTo>
                    <a:pt x="324" y="12"/>
                  </a:lnTo>
                  <a:lnTo>
                    <a:pt x="330" y="20"/>
                  </a:lnTo>
                  <a:lnTo>
                    <a:pt x="336" y="28"/>
                  </a:lnTo>
                  <a:lnTo>
                    <a:pt x="340" y="38"/>
                  </a:lnTo>
                  <a:lnTo>
                    <a:pt x="344" y="48"/>
                  </a:lnTo>
                  <a:lnTo>
                    <a:pt x="574" y="48"/>
                  </a:lnTo>
                  <a:lnTo>
                    <a:pt x="574" y="246"/>
                  </a:lnTo>
                  <a:lnTo>
                    <a:pt x="556" y="246"/>
                  </a:lnTo>
                  <a:lnTo>
                    <a:pt x="556" y="66"/>
                  </a:lnTo>
                  <a:lnTo>
                    <a:pt x="326" y="66"/>
                  </a:lnTo>
                  <a:lnTo>
                    <a:pt x="326" y="56"/>
                  </a:lnTo>
                  <a:lnTo>
                    <a:pt x="326" y="56"/>
                  </a:lnTo>
                  <a:lnTo>
                    <a:pt x="326" y="48"/>
                  </a:lnTo>
                  <a:lnTo>
                    <a:pt x="322" y="40"/>
                  </a:lnTo>
                  <a:lnTo>
                    <a:pt x="320" y="34"/>
                  </a:lnTo>
                  <a:lnTo>
                    <a:pt x="314" y="28"/>
                  </a:lnTo>
                  <a:lnTo>
                    <a:pt x="308" y="24"/>
                  </a:lnTo>
                  <a:lnTo>
                    <a:pt x="302" y="20"/>
                  </a:lnTo>
                  <a:lnTo>
                    <a:pt x="294" y="18"/>
                  </a:lnTo>
                  <a:lnTo>
                    <a:pt x="286" y="18"/>
                  </a:lnTo>
                  <a:lnTo>
                    <a:pt x="286" y="18"/>
                  </a:lnTo>
                  <a:lnTo>
                    <a:pt x="278" y="18"/>
                  </a:lnTo>
                  <a:lnTo>
                    <a:pt x="272" y="20"/>
                  </a:lnTo>
                  <a:lnTo>
                    <a:pt x="264" y="24"/>
                  </a:lnTo>
                  <a:lnTo>
                    <a:pt x="258" y="28"/>
                  </a:lnTo>
                  <a:lnTo>
                    <a:pt x="254" y="34"/>
                  </a:lnTo>
                  <a:lnTo>
                    <a:pt x="250" y="40"/>
                  </a:lnTo>
                  <a:lnTo>
                    <a:pt x="248" y="48"/>
                  </a:lnTo>
                  <a:lnTo>
                    <a:pt x="248" y="56"/>
                  </a:lnTo>
                  <a:lnTo>
                    <a:pt x="248" y="66"/>
                  </a:lnTo>
                  <a:lnTo>
                    <a:pt x="18" y="66"/>
                  </a:lnTo>
                  <a:lnTo>
                    <a:pt x="18" y="754"/>
                  </a:lnTo>
                  <a:lnTo>
                    <a:pt x="556" y="754"/>
                  </a:lnTo>
                  <a:lnTo>
                    <a:pt x="556" y="644"/>
                  </a:lnTo>
                  <a:lnTo>
                    <a:pt x="574" y="644"/>
                  </a:lnTo>
                  <a:lnTo>
                    <a:pt x="574" y="772"/>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4" name="Freeform 35">
              <a:extLst>
                <a:ext uri="{FF2B5EF4-FFF2-40B4-BE49-F238E27FC236}">
                  <a16:creationId xmlns:a16="http://schemas.microsoft.com/office/drawing/2014/main" id="{76BEA593-0D5A-4F6E-A5A6-576C69BE874E}"/>
                </a:ext>
              </a:extLst>
            </p:cNvPr>
            <p:cNvSpPr>
              <a:spLocks/>
            </p:cNvSpPr>
            <p:nvPr/>
          </p:nvSpPr>
          <p:spPr bwMode="black">
            <a:xfrm>
              <a:off x="4207" y="1858"/>
              <a:ext cx="236" cy="128"/>
            </a:xfrm>
            <a:custGeom>
              <a:avLst/>
              <a:gdLst>
                <a:gd name="T0" fmla="*/ 236 w 236"/>
                <a:gd name="T1" fmla="*/ 128 h 128"/>
                <a:gd name="T2" fmla="*/ 0 w 236"/>
                <a:gd name="T3" fmla="*/ 128 h 128"/>
                <a:gd name="T4" fmla="*/ 0 w 236"/>
                <a:gd name="T5" fmla="*/ 0 h 128"/>
                <a:gd name="T6" fmla="*/ 18 w 236"/>
                <a:gd name="T7" fmla="*/ 0 h 128"/>
                <a:gd name="T8" fmla="*/ 18 w 236"/>
                <a:gd name="T9" fmla="*/ 110 h 128"/>
                <a:gd name="T10" fmla="*/ 218 w 236"/>
                <a:gd name="T11" fmla="*/ 110 h 128"/>
                <a:gd name="T12" fmla="*/ 218 w 236"/>
                <a:gd name="T13" fmla="*/ 0 h 128"/>
                <a:gd name="T14" fmla="*/ 236 w 236"/>
                <a:gd name="T15" fmla="*/ 0 h 128"/>
                <a:gd name="T16" fmla="*/ 236 w 23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128">
                  <a:moveTo>
                    <a:pt x="236" y="128"/>
                  </a:moveTo>
                  <a:lnTo>
                    <a:pt x="0" y="128"/>
                  </a:lnTo>
                  <a:lnTo>
                    <a:pt x="0" y="0"/>
                  </a:lnTo>
                  <a:lnTo>
                    <a:pt x="18" y="0"/>
                  </a:lnTo>
                  <a:lnTo>
                    <a:pt x="18" y="110"/>
                  </a:lnTo>
                  <a:lnTo>
                    <a:pt x="218" y="110"/>
                  </a:lnTo>
                  <a:lnTo>
                    <a:pt x="218" y="0"/>
                  </a:lnTo>
                  <a:lnTo>
                    <a:pt x="236" y="0"/>
                  </a:lnTo>
                  <a:lnTo>
                    <a:pt x="236" y="128"/>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5" name="Rectangle 36">
              <a:extLst>
                <a:ext uri="{FF2B5EF4-FFF2-40B4-BE49-F238E27FC236}">
                  <a16:creationId xmlns:a16="http://schemas.microsoft.com/office/drawing/2014/main" id="{2A7DDA8A-18A5-4939-B5C4-8478C9C1928F}"/>
                </a:ext>
              </a:extLst>
            </p:cNvPr>
            <p:cNvSpPr>
              <a:spLocks noChangeArrowheads="1"/>
            </p:cNvSpPr>
            <p:nvPr/>
          </p:nvSpPr>
          <p:spPr bwMode="black">
            <a:xfrm>
              <a:off x="4263" y="1912"/>
              <a:ext cx="126"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6" name="Freeform 37">
              <a:extLst>
                <a:ext uri="{FF2B5EF4-FFF2-40B4-BE49-F238E27FC236}">
                  <a16:creationId xmlns:a16="http://schemas.microsoft.com/office/drawing/2014/main" id="{31EA4A07-A534-44C0-857E-DDE0C855D4EA}"/>
                </a:ext>
              </a:extLst>
            </p:cNvPr>
            <p:cNvSpPr>
              <a:spLocks noEditPoints="1"/>
            </p:cNvSpPr>
            <p:nvPr/>
          </p:nvSpPr>
          <p:spPr bwMode="black">
            <a:xfrm>
              <a:off x="4159" y="2038"/>
              <a:ext cx="80" cy="80"/>
            </a:xfrm>
            <a:custGeom>
              <a:avLst/>
              <a:gdLst>
                <a:gd name="T0" fmla="*/ 80 w 80"/>
                <a:gd name="T1" fmla="*/ 80 h 80"/>
                <a:gd name="T2" fmla="*/ 0 w 80"/>
                <a:gd name="T3" fmla="*/ 80 h 80"/>
                <a:gd name="T4" fmla="*/ 0 w 80"/>
                <a:gd name="T5" fmla="*/ 0 h 80"/>
                <a:gd name="T6" fmla="*/ 80 w 80"/>
                <a:gd name="T7" fmla="*/ 0 h 80"/>
                <a:gd name="T8" fmla="*/ 80 w 80"/>
                <a:gd name="T9" fmla="*/ 80 h 80"/>
                <a:gd name="T10" fmla="*/ 18 w 80"/>
                <a:gd name="T11" fmla="*/ 62 h 80"/>
                <a:gd name="T12" fmla="*/ 62 w 80"/>
                <a:gd name="T13" fmla="*/ 62 h 80"/>
                <a:gd name="T14" fmla="*/ 62 w 80"/>
                <a:gd name="T15" fmla="*/ 18 h 80"/>
                <a:gd name="T16" fmla="*/ 18 w 80"/>
                <a:gd name="T17" fmla="*/ 18 h 80"/>
                <a:gd name="T18" fmla="*/ 18 w 80"/>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80" y="80"/>
                  </a:moveTo>
                  <a:lnTo>
                    <a:pt x="0" y="80"/>
                  </a:lnTo>
                  <a:lnTo>
                    <a:pt x="0" y="0"/>
                  </a:lnTo>
                  <a:lnTo>
                    <a:pt x="80" y="0"/>
                  </a:lnTo>
                  <a:lnTo>
                    <a:pt x="80" y="80"/>
                  </a:lnTo>
                  <a:close/>
                  <a:moveTo>
                    <a:pt x="18" y="62"/>
                  </a:moveTo>
                  <a:lnTo>
                    <a:pt x="62" y="62"/>
                  </a:lnTo>
                  <a:lnTo>
                    <a:pt x="62" y="18"/>
                  </a:lnTo>
                  <a:lnTo>
                    <a:pt x="18" y="18"/>
                  </a:lnTo>
                  <a:lnTo>
                    <a:pt x="18" y="62"/>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7" name="Freeform 38">
              <a:extLst>
                <a:ext uri="{FF2B5EF4-FFF2-40B4-BE49-F238E27FC236}">
                  <a16:creationId xmlns:a16="http://schemas.microsoft.com/office/drawing/2014/main" id="{6ACF14B3-545B-48DD-A760-52B7E621421C}"/>
                </a:ext>
              </a:extLst>
            </p:cNvPr>
            <p:cNvSpPr>
              <a:spLocks noEditPoints="1"/>
            </p:cNvSpPr>
            <p:nvPr/>
          </p:nvSpPr>
          <p:spPr bwMode="black">
            <a:xfrm>
              <a:off x="4159" y="2156"/>
              <a:ext cx="80" cy="80"/>
            </a:xfrm>
            <a:custGeom>
              <a:avLst/>
              <a:gdLst>
                <a:gd name="T0" fmla="*/ 80 w 80"/>
                <a:gd name="T1" fmla="*/ 80 h 80"/>
                <a:gd name="T2" fmla="*/ 0 w 80"/>
                <a:gd name="T3" fmla="*/ 80 h 80"/>
                <a:gd name="T4" fmla="*/ 0 w 80"/>
                <a:gd name="T5" fmla="*/ 0 h 80"/>
                <a:gd name="T6" fmla="*/ 80 w 80"/>
                <a:gd name="T7" fmla="*/ 0 h 80"/>
                <a:gd name="T8" fmla="*/ 80 w 80"/>
                <a:gd name="T9" fmla="*/ 80 h 80"/>
                <a:gd name="T10" fmla="*/ 18 w 80"/>
                <a:gd name="T11" fmla="*/ 62 h 80"/>
                <a:gd name="T12" fmla="*/ 62 w 80"/>
                <a:gd name="T13" fmla="*/ 62 h 80"/>
                <a:gd name="T14" fmla="*/ 62 w 80"/>
                <a:gd name="T15" fmla="*/ 18 h 80"/>
                <a:gd name="T16" fmla="*/ 18 w 80"/>
                <a:gd name="T17" fmla="*/ 18 h 80"/>
                <a:gd name="T18" fmla="*/ 18 w 80"/>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80" y="80"/>
                  </a:moveTo>
                  <a:lnTo>
                    <a:pt x="0" y="80"/>
                  </a:lnTo>
                  <a:lnTo>
                    <a:pt x="0" y="0"/>
                  </a:lnTo>
                  <a:lnTo>
                    <a:pt x="80" y="0"/>
                  </a:lnTo>
                  <a:lnTo>
                    <a:pt x="80" y="80"/>
                  </a:lnTo>
                  <a:close/>
                  <a:moveTo>
                    <a:pt x="18" y="62"/>
                  </a:moveTo>
                  <a:lnTo>
                    <a:pt x="62" y="62"/>
                  </a:lnTo>
                  <a:lnTo>
                    <a:pt x="62" y="18"/>
                  </a:lnTo>
                  <a:lnTo>
                    <a:pt x="18" y="18"/>
                  </a:lnTo>
                  <a:lnTo>
                    <a:pt x="18" y="62"/>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8" name="Freeform 39">
              <a:extLst>
                <a:ext uri="{FF2B5EF4-FFF2-40B4-BE49-F238E27FC236}">
                  <a16:creationId xmlns:a16="http://schemas.microsoft.com/office/drawing/2014/main" id="{CCB286D6-EBC7-4236-B9FC-3C3F9FF04776}"/>
                </a:ext>
              </a:extLst>
            </p:cNvPr>
            <p:cNvSpPr>
              <a:spLocks noEditPoints="1"/>
            </p:cNvSpPr>
            <p:nvPr/>
          </p:nvSpPr>
          <p:spPr bwMode="black">
            <a:xfrm>
              <a:off x="4159" y="2272"/>
              <a:ext cx="80" cy="82"/>
            </a:xfrm>
            <a:custGeom>
              <a:avLst/>
              <a:gdLst>
                <a:gd name="T0" fmla="*/ 80 w 80"/>
                <a:gd name="T1" fmla="*/ 82 h 82"/>
                <a:gd name="T2" fmla="*/ 0 w 80"/>
                <a:gd name="T3" fmla="*/ 82 h 82"/>
                <a:gd name="T4" fmla="*/ 0 w 80"/>
                <a:gd name="T5" fmla="*/ 0 h 82"/>
                <a:gd name="T6" fmla="*/ 80 w 80"/>
                <a:gd name="T7" fmla="*/ 0 h 82"/>
                <a:gd name="T8" fmla="*/ 80 w 80"/>
                <a:gd name="T9" fmla="*/ 82 h 82"/>
                <a:gd name="T10" fmla="*/ 18 w 80"/>
                <a:gd name="T11" fmla="*/ 64 h 82"/>
                <a:gd name="T12" fmla="*/ 62 w 80"/>
                <a:gd name="T13" fmla="*/ 64 h 82"/>
                <a:gd name="T14" fmla="*/ 62 w 80"/>
                <a:gd name="T15" fmla="*/ 18 h 82"/>
                <a:gd name="T16" fmla="*/ 18 w 80"/>
                <a:gd name="T17" fmla="*/ 18 h 82"/>
                <a:gd name="T18" fmla="*/ 18 w 80"/>
                <a:gd name="T1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2">
                  <a:moveTo>
                    <a:pt x="80" y="82"/>
                  </a:moveTo>
                  <a:lnTo>
                    <a:pt x="0" y="82"/>
                  </a:lnTo>
                  <a:lnTo>
                    <a:pt x="0" y="0"/>
                  </a:lnTo>
                  <a:lnTo>
                    <a:pt x="80" y="0"/>
                  </a:lnTo>
                  <a:lnTo>
                    <a:pt x="80" y="82"/>
                  </a:lnTo>
                  <a:close/>
                  <a:moveTo>
                    <a:pt x="18" y="64"/>
                  </a:moveTo>
                  <a:lnTo>
                    <a:pt x="62" y="64"/>
                  </a:lnTo>
                  <a:lnTo>
                    <a:pt x="62" y="18"/>
                  </a:lnTo>
                  <a:lnTo>
                    <a:pt x="18" y="18"/>
                  </a:lnTo>
                  <a:lnTo>
                    <a:pt x="18" y="64"/>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9" name="Rectangle 40">
              <a:extLst>
                <a:ext uri="{FF2B5EF4-FFF2-40B4-BE49-F238E27FC236}">
                  <a16:creationId xmlns:a16="http://schemas.microsoft.com/office/drawing/2014/main" id="{3236EADF-3097-405B-B25E-F1C4C18BCFFC}"/>
                </a:ext>
              </a:extLst>
            </p:cNvPr>
            <p:cNvSpPr>
              <a:spLocks noChangeArrowheads="1"/>
            </p:cNvSpPr>
            <p:nvPr/>
          </p:nvSpPr>
          <p:spPr bwMode="black">
            <a:xfrm>
              <a:off x="4293" y="2068"/>
              <a:ext cx="200"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0" name="Rectangle 41">
              <a:extLst>
                <a:ext uri="{FF2B5EF4-FFF2-40B4-BE49-F238E27FC236}">
                  <a16:creationId xmlns:a16="http://schemas.microsoft.com/office/drawing/2014/main" id="{EFEB7450-8957-44D3-8866-6AA83EA81CFC}"/>
                </a:ext>
              </a:extLst>
            </p:cNvPr>
            <p:cNvSpPr>
              <a:spLocks noChangeArrowheads="1"/>
            </p:cNvSpPr>
            <p:nvPr/>
          </p:nvSpPr>
          <p:spPr bwMode="black">
            <a:xfrm>
              <a:off x="4293" y="2186"/>
              <a:ext cx="108"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1" name="Rectangle 42">
              <a:extLst>
                <a:ext uri="{FF2B5EF4-FFF2-40B4-BE49-F238E27FC236}">
                  <a16:creationId xmlns:a16="http://schemas.microsoft.com/office/drawing/2014/main" id="{D2C10E65-94F5-4F2A-97FE-DFF0634BBF18}"/>
                </a:ext>
              </a:extLst>
            </p:cNvPr>
            <p:cNvSpPr>
              <a:spLocks noChangeArrowheads="1"/>
            </p:cNvSpPr>
            <p:nvPr/>
          </p:nvSpPr>
          <p:spPr bwMode="black">
            <a:xfrm>
              <a:off x="4293" y="2304"/>
              <a:ext cx="108"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2" name="Freeform 43">
              <a:extLst>
                <a:ext uri="{FF2B5EF4-FFF2-40B4-BE49-F238E27FC236}">
                  <a16:creationId xmlns:a16="http://schemas.microsoft.com/office/drawing/2014/main" id="{AF362326-8B0D-4800-845B-6CB24C1F03DD}"/>
                </a:ext>
              </a:extLst>
            </p:cNvPr>
            <p:cNvSpPr>
              <a:spLocks noEditPoints="1"/>
            </p:cNvSpPr>
            <p:nvPr/>
          </p:nvSpPr>
          <p:spPr bwMode="black">
            <a:xfrm>
              <a:off x="4159" y="2390"/>
              <a:ext cx="80" cy="82"/>
            </a:xfrm>
            <a:custGeom>
              <a:avLst/>
              <a:gdLst>
                <a:gd name="T0" fmla="*/ 80 w 80"/>
                <a:gd name="T1" fmla="*/ 82 h 82"/>
                <a:gd name="T2" fmla="*/ 0 w 80"/>
                <a:gd name="T3" fmla="*/ 82 h 82"/>
                <a:gd name="T4" fmla="*/ 0 w 80"/>
                <a:gd name="T5" fmla="*/ 0 h 82"/>
                <a:gd name="T6" fmla="*/ 80 w 80"/>
                <a:gd name="T7" fmla="*/ 0 h 82"/>
                <a:gd name="T8" fmla="*/ 80 w 80"/>
                <a:gd name="T9" fmla="*/ 82 h 82"/>
                <a:gd name="T10" fmla="*/ 18 w 80"/>
                <a:gd name="T11" fmla="*/ 64 h 82"/>
                <a:gd name="T12" fmla="*/ 62 w 80"/>
                <a:gd name="T13" fmla="*/ 64 h 82"/>
                <a:gd name="T14" fmla="*/ 62 w 80"/>
                <a:gd name="T15" fmla="*/ 18 h 82"/>
                <a:gd name="T16" fmla="*/ 18 w 80"/>
                <a:gd name="T17" fmla="*/ 18 h 82"/>
                <a:gd name="T18" fmla="*/ 18 w 80"/>
                <a:gd name="T1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2">
                  <a:moveTo>
                    <a:pt x="80" y="82"/>
                  </a:moveTo>
                  <a:lnTo>
                    <a:pt x="0" y="82"/>
                  </a:lnTo>
                  <a:lnTo>
                    <a:pt x="0" y="0"/>
                  </a:lnTo>
                  <a:lnTo>
                    <a:pt x="80" y="0"/>
                  </a:lnTo>
                  <a:lnTo>
                    <a:pt x="80" y="82"/>
                  </a:lnTo>
                  <a:close/>
                  <a:moveTo>
                    <a:pt x="18" y="64"/>
                  </a:moveTo>
                  <a:lnTo>
                    <a:pt x="62" y="64"/>
                  </a:lnTo>
                  <a:lnTo>
                    <a:pt x="62" y="18"/>
                  </a:lnTo>
                  <a:lnTo>
                    <a:pt x="18" y="18"/>
                  </a:lnTo>
                  <a:lnTo>
                    <a:pt x="18" y="64"/>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3" name="Rectangle 44">
              <a:extLst>
                <a:ext uri="{FF2B5EF4-FFF2-40B4-BE49-F238E27FC236}">
                  <a16:creationId xmlns:a16="http://schemas.microsoft.com/office/drawing/2014/main" id="{1D2EFCBA-DEF4-4833-8035-27DA40B2BD9A}"/>
                </a:ext>
              </a:extLst>
            </p:cNvPr>
            <p:cNvSpPr>
              <a:spLocks noChangeArrowheads="1"/>
            </p:cNvSpPr>
            <p:nvPr/>
          </p:nvSpPr>
          <p:spPr bwMode="black">
            <a:xfrm>
              <a:off x="4293" y="2422"/>
              <a:ext cx="200" cy="18"/>
            </a:xfrm>
            <a:prstGeom prst="rect">
              <a:avLst/>
            </a:prstGeom>
            <a:solidFill>
              <a:srgbClr val="1A9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4" name="Freeform 45">
              <a:extLst>
                <a:ext uri="{FF2B5EF4-FFF2-40B4-BE49-F238E27FC236}">
                  <a16:creationId xmlns:a16="http://schemas.microsoft.com/office/drawing/2014/main" id="{C7FB62D7-3222-4D7E-AEE4-45A3F86F24B9}"/>
                </a:ext>
              </a:extLst>
            </p:cNvPr>
            <p:cNvSpPr>
              <a:spLocks noEditPoints="1"/>
            </p:cNvSpPr>
            <p:nvPr/>
          </p:nvSpPr>
          <p:spPr bwMode="black">
            <a:xfrm>
              <a:off x="4415" y="2090"/>
              <a:ext cx="336" cy="334"/>
            </a:xfrm>
            <a:custGeom>
              <a:avLst/>
              <a:gdLst>
                <a:gd name="T0" fmla="*/ 150 w 336"/>
                <a:gd name="T1" fmla="*/ 334 h 334"/>
                <a:gd name="T2" fmla="*/ 102 w 336"/>
                <a:gd name="T3" fmla="*/ 320 h 334"/>
                <a:gd name="T4" fmla="*/ 62 w 336"/>
                <a:gd name="T5" fmla="*/ 296 h 334"/>
                <a:gd name="T6" fmla="*/ 30 w 336"/>
                <a:gd name="T7" fmla="*/ 260 h 334"/>
                <a:gd name="T8" fmla="*/ 8 w 336"/>
                <a:gd name="T9" fmla="*/ 216 h 334"/>
                <a:gd name="T10" fmla="*/ 0 w 336"/>
                <a:gd name="T11" fmla="*/ 166 h 334"/>
                <a:gd name="T12" fmla="*/ 4 w 336"/>
                <a:gd name="T13" fmla="*/ 132 h 334"/>
                <a:gd name="T14" fmla="*/ 20 w 336"/>
                <a:gd name="T15" fmla="*/ 86 h 334"/>
                <a:gd name="T16" fmla="*/ 50 w 336"/>
                <a:gd name="T17" fmla="*/ 48 h 334"/>
                <a:gd name="T18" fmla="*/ 88 w 336"/>
                <a:gd name="T19" fmla="*/ 20 h 334"/>
                <a:gd name="T20" fmla="*/ 134 w 336"/>
                <a:gd name="T21" fmla="*/ 2 h 334"/>
                <a:gd name="T22" fmla="*/ 168 w 336"/>
                <a:gd name="T23" fmla="*/ 0 h 334"/>
                <a:gd name="T24" fmla="*/ 218 w 336"/>
                <a:gd name="T25" fmla="*/ 6 h 334"/>
                <a:gd name="T26" fmla="*/ 262 w 336"/>
                <a:gd name="T27" fmla="*/ 28 h 334"/>
                <a:gd name="T28" fmla="*/ 296 w 336"/>
                <a:gd name="T29" fmla="*/ 60 h 334"/>
                <a:gd name="T30" fmla="*/ 322 w 336"/>
                <a:gd name="T31" fmla="*/ 102 h 334"/>
                <a:gd name="T32" fmla="*/ 334 w 336"/>
                <a:gd name="T33" fmla="*/ 150 h 334"/>
                <a:gd name="T34" fmla="*/ 334 w 336"/>
                <a:gd name="T35" fmla="*/ 184 h 334"/>
                <a:gd name="T36" fmla="*/ 322 w 336"/>
                <a:gd name="T37" fmla="*/ 232 h 334"/>
                <a:gd name="T38" fmla="*/ 296 w 336"/>
                <a:gd name="T39" fmla="*/ 274 h 334"/>
                <a:gd name="T40" fmla="*/ 262 w 336"/>
                <a:gd name="T41" fmla="*/ 306 h 334"/>
                <a:gd name="T42" fmla="*/ 218 w 336"/>
                <a:gd name="T43" fmla="*/ 326 h 334"/>
                <a:gd name="T44" fmla="*/ 168 w 336"/>
                <a:gd name="T45" fmla="*/ 334 h 334"/>
                <a:gd name="T46" fmla="*/ 168 w 336"/>
                <a:gd name="T47" fmla="*/ 18 h 334"/>
                <a:gd name="T48" fmla="*/ 124 w 336"/>
                <a:gd name="T49" fmla="*/ 24 h 334"/>
                <a:gd name="T50" fmla="*/ 84 w 336"/>
                <a:gd name="T51" fmla="*/ 42 h 334"/>
                <a:gd name="T52" fmla="*/ 52 w 336"/>
                <a:gd name="T53" fmla="*/ 72 h 334"/>
                <a:gd name="T54" fmla="*/ 30 w 336"/>
                <a:gd name="T55" fmla="*/ 108 h 334"/>
                <a:gd name="T56" fmla="*/ 20 w 336"/>
                <a:gd name="T57" fmla="*/ 152 h 334"/>
                <a:gd name="T58" fmla="*/ 20 w 336"/>
                <a:gd name="T59" fmla="*/ 182 h 334"/>
                <a:gd name="T60" fmla="*/ 30 w 336"/>
                <a:gd name="T61" fmla="*/ 224 h 334"/>
                <a:gd name="T62" fmla="*/ 52 w 336"/>
                <a:gd name="T63" fmla="*/ 262 h 334"/>
                <a:gd name="T64" fmla="*/ 84 w 336"/>
                <a:gd name="T65" fmla="*/ 290 h 334"/>
                <a:gd name="T66" fmla="*/ 124 w 336"/>
                <a:gd name="T67" fmla="*/ 310 h 334"/>
                <a:gd name="T68" fmla="*/ 168 w 336"/>
                <a:gd name="T69" fmla="*/ 316 h 334"/>
                <a:gd name="T70" fmla="*/ 198 w 336"/>
                <a:gd name="T71" fmla="*/ 312 h 334"/>
                <a:gd name="T72" fmla="*/ 238 w 336"/>
                <a:gd name="T73" fmla="*/ 298 h 334"/>
                <a:gd name="T74" fmla="*/ 274 w 336"/>
                <a:gd name="T75" fmla="*/ 272 h 334"/>
                <a:gd name="T76" fmla="*/ 300 w 336"/>
                <a:gd name="T77" fmla="*/ 238 h 334"/>
                <a:gd name="T78" fmla="*/ 314 w 336"/>
                <a:gd name="T79" fmla="*/ 196 h 334"/>
                <a:gd name="T80" fmla="*/ 318 w 336"/>
                <a:gd name="T81" fmla="*/ 166 h 334"/>
                <a:gd name="T82" fmla="*/ 310 w 336"/>
                <a:gd name="T83" fmla="*/ 122 h 334"/>
                <a:gd name="T84" fmla="*/ 292 w 336"/>
                <a:gd name="T85" fmla="*/ 84 h 334"/>
                <a:gd name="T86" fmla="*/ 262 w 336"/>
                <a:gd name="T87" fmla="*/ 52 h 334"/>
                <a:gd name="T88" fmla="*/ 226 w 336"/>
                <a:gd name="T89" fmla="*/ 30 h 334"/>
                <a:gd name="T90" fmla="*/ 184 w 336"/>
                <a:gd name="T91" fmla="*/ 1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6" h="334">
                  <a:moveTo>
                    <a:pt x="168" y="334"/>
                  </a:moveTo>
                  <a:lnTo>
                    <a:pt x="168" y="334"/>
                  </a:lnTo>
                  <a:lnTo>
                    <a:pt x="150" y="334"/>
                  </a:lnTo>
                  <a:lnTo>
                    <a:pt x="134" y="330"/>
                  </a:lnTo>
                  <a:lnTo>
                    <a:pt x="118" y="326"/>
                  </a:lnTo>
                  <a:lnTo>
                    <a:pt x="102" y="320"/>
                  </a:lnTo>
                  <a:lnTo>
                    <a:pt x="88" y="314"/>
                  </a:lnTo>
                  <a:lnTo>
                    <a:pt x="74" y="306"/>
                  </a:lnTo>
                  <a:lnTo>
                    <a:pt x="62" y="296"/>
                  </a:lnTo>
                  <a:lnTo>
                    <a:pt x="50" y="284"/>
                  </a:lnTo>
                  <a:lnTo>
                    <a:pt x="38" y="274"/>
                  </a:lnTo>
                  <a:lnTo>
                    <a:pt x="30" y="260"/>
                  </a:lnTo>
                  <a:lnTo>
                    <a:pt x="20" y="246"/>
                  </a:lnTo>
                  <a:lnTo>
                    <a:pt x="14" y="232"/>
                  </a:lnTo>
                  <a:lnTo>
                    <a:pt x="8" y="216"/>
                  </a:lnTo>
                  <a:lnTo>
                    <a:pt x="4" y="200"/>
                  </a:lnTo>
                  <a:lnTo>
                    <a:pt x="2" y="184"/>
                  </a:lnTo>
                  <a:lnTo>
                    <a:pt x="0" y="166"/>
                  </a:lnTo>
                  <a:lnTo>
                    <a:pt x="0" y="166"/>
                  </a:lnTo>
                  <a:lnTo>
                    <a:pt x="2" y="150"/>
                  </a:lnTo>
                  <a:lnTo>
                    <a:pt x="4" y="132"/>
                  </a:lnTo>
                  <a:lnTo>
                    <a:pt x="8" y="116"/>
                  </a:lnTo>
                  <a:lnTo>
                    <a:pt x="14" y="102"/>
                  </a:lnTo>
                  <a:lnTo>
                    <a:pt x="20" y="86"/>
                  </a:lnTo>
                  <a:lnTo>
                    <a:pt x="30" y="74"/>
                  </a:lnTo>
                  <a:lnTo>
                    <a:pt x="38" y="60"/>
                  </a:lnTo>
                  <a:lnTo>
                    <a:pt x="50" y="48"/>
                  </a:lnTo>
                  <a:lnTo>
                    <a:pt x="62" y="38"/>
                  </a:lnTo>
                  <a:lnTo>
                    <a:pt x="74" y="28"/>
                  </a:lnTo>
                  <a:lnTo>
                    <a:pt x="88" y="20"/>
                  </a:lnTo>
                  <a:lnTo>
                    <a:pt x="102" y="12"/>
                  </a:lnTo>
                  <a:lnTo>
                    <a:pt x="118" y="6"/>
                  </a:lnTo>
                  <a:lnTo>
                    <a:pt x="134" y="2"/>
                  </a:lnTo>
                  <a:lnTo>
                    <a:pt x="150" y="0"/>
                  </a:lnTo>
                  <a:lnTo>
                    <a:pt x="168" y="0"/>
                  </a:lnTo>
                  <a:lnTo>
                    <a:pt x="168" y="0"/>
                  </a:lnTo>
                  <a:lnTo>
                    <a:pt x="184" y="0"/>
                  </a:lnTo>
                  <a:lnTo>
                    <a:pt x="202" y="2"/>
                  </a:lnTo>
                  <a:lnTo>
                    <a:pt x="218" y="6"/>
                  </a:lnTo>
                  <a:lnTo>
                    <a:pt x="232" y="12"/>
                  </a:lnTo>
                  <a:lnTo>
                    <a:pt x="248" y="20"/>
                  </a:lnTo>
                  <a:lnTo>
                    <a:pt x="262" y="28"/>
                  </a:lnTo>
                  <a:lnTo>
                    <a:pt x="274" y="38"/>
                  </a:lnTo>
                  <a:lnTo>
                    <a:pt x="286" y="48"/>
                  </a:lnTo>
                  <a:lnTo>
                    <a:pt x="296" y="60"/>
                  </a:lnTo>
                  <a:lnTo>
                    <a:pt x="306" y="74"/>
                  </a:lnTo>
                  <a:lnTo>
                    <a:pt x="314" y="86"/>
                  </a:lnTo>
                  <a:lnTo>
                    <a:pt x="322" y="102"/>
                  </a:lnTo>
                  <a:lnTo>
                    <a:pt x="328" y="116"/>
                  </a:lnTo>
                  <a:lnTo>
                    <a:pt x="332" y="132"/>
                  </a:lnTo>
                  <a:lnTo>
                    <a:pt x="334" y="150"/>
                  </a:lnTo>
                  <a:lnTo>
                    <a:pt x="336" y="166"/>
                  </a:lnTo>
                  <a:lnTo>
                    <a:pt x="336" y="166"/>
                  </a:lnTo>
                  <a:lnTo>
                    <a:pt x="334" y="184"/>
                  </a:lnTo>
                  <a:lnTo>
                    <a:pt x="332" y="200"/>
                  </a:lnTo>
                  <a:lnTo>
                    <a:pt x="328" y="216"/>
                  </a:lnTo>
                  <a:lnTo>
                    <a:pt x="322" y="232"/>
                  </a:lnTo>
                  <a:lnTo>
                    <a:pt x="314" y="246"/>
                  </a:lnTo>
                  <a:lnTo>
                    <a:pt x="306" y="260"/>
                  </a:lnTo>
                  <a:lnTo>
                    <a:pt x="296" y="274"/>
                  </a:lnTo>
                  <a:lnTo>
                    <a:pt x="286" y="284"/>
                  </a:lnTo>
                  <a:lnTo>
                    <a:pt x="274" y="296"/>
                  </a:lnTo>
                  <a:lnTo>
                    <a:pt x="262" y="306"/>
                  </a:lnTo>
                  <a:lnTo>
                    <a:pt x="248" y="314"/>
                  </a:lnTo>
                  <a:lnTo>
                    <a:pt x="232" y="320"/>
                  </a:lnTo>
                  <a:lnTo>
                    <a:pt x="218" y="326"/>
                  </a:lnTo>
                  <a:lnTo>
                    <a:pt x="202" y="330"/>
                  </a:lnTo>
                  <a:lnTo>
                    <a:pt x="184" y="334"/>
                  </a:lnTo>
                  <a:lnTo>
                    <a:pt x="168" y="334"/>
                  </a:lnTo>
                  <a:lnTo>
                    <a:pt x="168" y="334"/>
                  </a:lnTo>
                  <a:close/>
                  <a:moveTo>
                    <a:pt x="168" y="18"/>
                  </a:moveTo>
                  <a:lnTo>
                    <a:pt x="168" y="18"/>
                  </a:lnTo>
                  <a:lnTo>
                    <a:pt x="152" y="18"/>
                  </a:lnTo>
                  <a:lnTo>
                    <a:pt x="138" y="20"/>
                  </a:lnTo>
                  <a:lnTo>
                    <a:pt x="124" y="24"/>
                  </a:lnTo>
                  <a:lnTo>
                    <a:pt x="110" y="30"/>
                  </a:lnTo>
                  <a:lnTo>
                    <a:pt x="96" y="36"/>
                  </a:lnTo>
                  <a:lnTo>
                    <a:pt x="84" y="42"/>
                  </a:lnTo>
                  <a:lnTo>
                    <a:pt x="72" y="52"/>
                  </a:lnTo>
                  <a:lnTo>
                    <a:pt x="62" y="62"/>
                  </a:lnTo>
                  <a:lnTo>
                    <a:pt x="52" y="72"/>
                  </a:lnTo>
                  <a:lnTo>
                    <a:pt x="44" y="84"/>
                  </a:lnTo>
                  <a:lnTo>
                    <a:pt x="36" y="96"/>
                  </a:lnTo>
                  <a:lnTo>
                    <a:pt x="30" y="108"/>
                  </a:lnTo>
                  <a:lnTo>
                    <a:pt x="26" y="122"/>
                  </a:lnTo>
                  <a:lnTo>
                    <a:pt x="22" y="136"/>
                  </a:lnTo>
                  <a:lnTo>
                    <a:pt x="20" y="152"/>
                  </a:lnTo>
                  <a:lnTo>
                    <a:pt x="18" y="166"/>
                  </a:lnTo>
                  <a:lnTo>
                    <a:pt x="18" y="166"/>
                  </a:lnTo>
                  <a:lnTo>
                    <a:pt x="20" y="182"/>
                  </a:lnTo>
                  <a:lnTo>
                    <a:pt x="22" y="196"/>
                  </a:lnTo>
                  <a:lnTo>
                    <a:pt x="26" y="212"/>
                  </a:lnTo>
                  <a:lnTo>
                    <a:pt x="30" y="224"/>
                  </a:lnTo>
                  <a:lnTo>
                    <a:pt x="36" y="238"/>
                  </a:lnTo>
                  <a:lnTo>
                    <a:pt x="44" y="250"/>
                  </a:lnTo>
                  <a:lnTo>
                    <a:pt x="52" y="262"/>
                  </a:lnTo>
                  <a:lnTo>
                    <a:pt x="62" y="272"/>
                  </a:lnTo>
                  <a:lnTo>
                    <a:pt x="72" y="282"/>
                  </a:lnTo>
                  <a:lnTo>
                    <a:pt x="84" y="290"/>
                  </a:lnTo>
                  <a:lnTo>
                    <a:pt x="96" y="298"/>
                  </a:lnTo>
                  <a:lnTo>
                    <a:pt x="110" y="304"/>
                  </a:lnTo>
                  <a:lnTo>
                    <a:pt x="124" y="310"/>
                  </a:lnTo>
                  <a:lnTo>
                    <a:pt x="138" y="312"/>
                  </a:lnTo>
                  <a:lnTo>
                    <a:pt x="152" y="316"/>
                  </a:lnTo>
                  <a:lnTo>
                    <a:pt x="168" y="316"/>
                  </a:lnTo>
                  <a:lnTo>
                    <a:pt x="168" y="316"/>
                  </a:lnTo>
                  <a:lnTo>
                    <a:pt x="184" y="316"/>
                  </a:lnTo>
                  <a:lnTo>
                    <a:pt x="198" y="312"/>
                  </a:lnTo>
                  <a:lnTo>
                    <a:pt x="212" y="310"/>
                  </a:lnTo>
                  <a:lnTo>
                    <a:pt x="226" y="304"/>
                  </a:lnTo>
                  <a:lnTo>
                    <a:pt x="238" y="298"/>
                  </a:lnTo>
                  <a:lnTo>
                    <a:pt x="252" y="290"/>
                  </a:lnTo>
                  <a:lnTo>
                    <a:pt x="262" y="282"/>
                  </a:lnTo>
                  <a:lnTo>
                    <a:pt x="274" y="272"/>
                  </a:lnTo>
                  <a:lnTo>
                    <a:pt x="284" y="262"/>
                  </a:lnTo>
                  <a:lnTo>
                    <a:pt x="292" y="250"/>
                  </a:lnTo>
                  <a:lnTo>
                    <a:pt x="300" y="238"/>
                  </a:lnTo>
                  <a:lnTo>
                    <a:pt x="306" y="224"/>
                  </a:lnTo>
                  <a:lnTo>
                    <a:pt x="310" y="212"/>
                  </a:lnTo>
                  <a:lnTo>
                    <a:pt x="314" y="196"/>
                  </a:lnTo>
                  <a:lnTo>
                    <a:pt x="316" y="182"/>
                  </a:lnTo>
                  <a:lnTo>
                    <a:pt x="318" y="166"/>
                  </a:lnTo>
                  <a:lnTo>
                    <a:pt x="318" y="166"/>
                  </a:lnTo>
                  <a:lnTo>
                    <a:pt x="316" y="152"/>
                  </a:lnTo>
                  <a:lnTo>
                    <a:pt x="314" y="136"/>
                  </a:lnTo>
                  <a:lnTo>
                    <a:pt x="310" y="122"/>
                  </a:lnTo>
                  <a:lnTo>
                    <a:pt x="306" y="108"/>
                  </a:lnTo>
                  <a:lnTo>
                    <a:pt x="300" y="96"/>
                  </a:lnTo>
                  <a:lnTo>
                    <a:pt x="292" y="84"/>
                  </a:lnTo>
                  <a:lnTo>
                    <a:pt x="284" y="72"/>
                  </a:lnTo>
                  <a:lnTo>
                    <a:pt x="274" y="62"/>
                  </a:lnTo>
                  <a:lnTo>
                    <a:pt x="262" y="52"/>
                  </a:lnTo>
                  <a:lnTo>
                    <a:pt x="252" y="42"/>
                  </a:lnTo>
                  <a:lnTo>
                    <a:pt x="238" y="36"/>
                  </a:lnTo>
                  <a:lnTo>
                    <a:pt x="226" y="30"/>
                  </a:lnTo>
                  <a:lnTo>
                    <a:pt x="212" y="24"/>
                  </a:lnTo>
                  <a:lnTo>
                    <a:pt x="198" y="20"/>
                  </a:lnTo>
                  <a:lnTo>
                    <a:pt x="184" y="18"/>
                  </a:lnTo>
                  <a:lnTo>
                    <a:pt x="168" y="18"/>
                  </a:lnTo>
                  <a:lnTo>
                    <a:pt x="168" y="18"/>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5" name="Freeform 46">
              <a:extLst>
                <a:ext uri="{FF2B5EF4-FFF2-40B4-BE49-F238E27FC236}">
                  <a16:creationId xmlns:a16="http://schemas.microsoft.com/office/drawing/2014/main" id="{7093CA57-5888-4B9A-B1DA-B7E3D3AE6C07}"/>
                </a:ext>
              </a:extLst>
            </p:cNvPr>
            <p:cNvSpPr>
              <a:spLocks/>
            </p:cNvSpPr>
            <p:nvPr/>
          </p:nvSpPr>
          <p:spPr bwMode="black">
            <a:xfrm>
              <a:off x="4479" y="2184"/>
              <a:ext cx="208" cy="146"/>
            </a:xfrm>
            <a:custGeom>
              <a:avLst/>
              <a:gdLst>
                <a:gd name="T0" fmla="*/ 74 w 208"/>
                <a:gd name="T1" fmla="*/ 146 h 146"/>
                <a:gd name="T2" fmla="*/ 0 w 208"/>
                <a:gd name="T3" fmla="*/ 72 h 146"/>
                <a:gd name="T4" fmla="*/ 12 w 208"/>
                <a:gd name="T5" fmla="*/ 58 h 146"/>
                <a:gd name="T6" fmla="*/ 74 w 208"/>
                <a:gd name="T7" fmla="*/ 120 h 146"/>
                <a:gd name="T8" fmla="*/ 196 w 208"/>
                <a:gd name="T9" fmla="*/ 0 h 146"/>
                <a:gd name="T10" fmla="*/ 208 w 208"/>
                <a:gd name="T11" fmla="*/ 12 h 146"/>
                <a:gd name="T12" fmla="*/ 74 w 20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208" h="146">
                  <a:moveTo>
                    <a:pt x="74" y="146"/>
                  </a:moveTo>
                  <a:lnTo>
                    <a:pt x="0" y="72"/>
                  </a:lnTo>
                  <a:lnTo>
                    <a:pt x="12" y="58"/>
                  </a:lnTo>
                  <a:lnTo>
                    <a:pt x="74" y="120"/>
                  </a:lnTo>
                  <a:lnTo>
                    <a:pt x="196" y="0"/>
                  </a:lnTo>
                  <a:lnTo>
                    <a:pt x="208" y="12"/>
                  </a:lnTo>
                  <a:lnTo>
                    <a:pt x="74" y="146"/>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6" name="Freeform 47">
              <a:extLst>
                <a:ext uri="{FF2B5EF4-FFF2-40B4-BE49-F238E27FC236}">
                  <a16:creationId xmlns:a16="http://schemas.microsoft.com/office/drawing/2014/main" id="{BBEF2329-4FEE-422C-93A8-D214D8FA51F1}"/>
                </a:ext>
              </a:extLst>
            </p:cNvPr>
            <p:cNvSpPr>
              <a:spLocks/>
            </p:cNvSpPr>
            <p:nvPr/>
          </p:nvSpPr>
          <p:spPr bwMode="black">
            <a:xfrm>
              <a:off x="4457" y="1908"/>
              <a:ext cx="104" cy="148"/>
            </a:xfrm>
            <a:custGeom>
              <a:avLst/>
              <a:gdLst>
                <a:gd name="T0" fmla="*/ 104 w 104"/>
                <a:gd name="T1" fmla="*/ 148 h 148"/>
                <a:gd name="T2" fmla="*/ 86 w 104"/>
                <a:gd name="T3" fmla="*/ 148 h 148"/>
                <a:gd name="T4" fmla="*/ 86 w 104"/>
                <a:gd name="T5" fmla="*/ 18 h 148"/>
                <a:gd name="T6" fmla="*/ 0 w 104"/>
                <a:gd name="T7" fmla="*/ 18 h 148"/>
                <a:gd name="T8" fmla="*/ 0 w 104"/>
                <a:gd name="T9" fmla="*/ 0 h 148"/>
                <a:gd name="T10" fmla="*/ 104 w 104"/>
                <a:gd name="T11" fmla="*/ 0 h 148"/>
                <a:gd name="T12" fmla="*/ 104 w 10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04" h="148">
                  <a:moveTo>
                    <a:pt x="104" y="148"/>
                  </a:moveTo>
                  <a:lnTo>
                    <a:pt x="86" y="148"/>
                  </a:lnTo>
                  <a:lnTo>
                    <a:pt x="86" y="18"/>
                  </a:lnTo>
                  <a:lnTo>
                    <a:pt x="0" y="18"/>
                  </a:lnTo>
                  <a:lnTo>
                    <a:pt x="0" y="0"/>
                  </a:lnTo>
                  <a:lnTo>
                    <a:pt x="104" y="0"/>
                  </a:lnTo>
                  <a:lnTo>
                    <a:pt x="104" y="148"/>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47" name="Freeform 48">
              <a:extLst>
                <a:ext uri="{FF2B5EF4-FFF2-40B4-BE49-F238E27FC236}">
                  <a16:creationId xmlns:a16="http://schemas.microsoft.com/office/drawing/2014/main" id="{FC85833D-1744-484A-811C-AC6A7FBF7410}"/>
                </a:ext>
              </a:extLst>
            </p:cNvPr>
            <p:cNvSpPr>
              <a:spLocks/>
            </p:cNvSpPr>
            <p:nvPr/>
          </p:nvSpPr>
          <p:spPr bwMode="black">
            <a:xfrm>
              <a:off x="4091" y="1908"/>
              <a:ext cx="470" cy="622"/>
            </a:xfrm>
            <a:custGeom>
              <a:avLst/>
              <a:gdLst>
                <a:gd name="T0" fmla="*/ 470 w 470"/>
                <a:gd name="T1" fmla="*/ 622 h 622"/>
                <a:gd name="T2" fmla="*/ 0 w 470"/>
                <a:gd name="T3" fmla="*/ 622 h 622"/>
                <a:gd name="T4" fmla="*/ 0 w 470"/>
                <a:gd name="T5" fmla="*/ 0 h 622"/>
                <a:gd name="T6" fmla="*/ 104 w 470"/>
                <a:gd name="T7" fmla="*/ 0 h 622"/>
                <a:gd name="T8" fmla="*/ 104 w 470"/>
                <a:gd name="T9" fmla="*/ 18 h 622"/>
                <a:gd name="T10" fmla="*/ 18 w 470"/>
                <a:gd name="T11" fmla="*/ 18 h 622"/>
                <a:gd name="T12" fmla="*/ 18 w 470"/>
                <a:gd name="T13" fmla="*/ 604 h 622"/>
                <a:gd name="T14" fmla="*/ 452 w 470"/>
                <a:gd name="T15" fmla="*/ 604 h 622"/>
                <a:gd name="T16" fmla="*/ 452 w 470"/>
                <a:gd name="T17" fmla="*/ 546 h 622"/>
                <a:gd name="T18" fmla="*/ 470 w 470"/>
                <a:gd name="T19" fmla="*/ 546 h 622"/>
                <a:gd name="T20" fmla="*/ 470 w 470"/>
                <a:gd name="T21" fmla="*/ 62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622">
                  <a:moveTo>
                    <a:pt x="470" y="622"/>
                  </a:moveTo>
                  <a:lnTo>
                    <a:pt x="0" y="622"/>
                  </a:lnTo>
                  <a:lnTo>
                    <a:pt x="0" y="0"/>
                  </a:lnTo>
                  <a:lnTo>
                    <a:pt x="104" y="0"/>
                  </a:lnTo>
                  <a:lnTo>
                    <a:pt x="104" y="18"/>
                  </a:lnTo>
                  <a:lnTo>
                    <a:pt x="18" y="18"/>
                  </a:lnTo>
                  <a:lnTo>
                    <a:pt x="18" y="604"/>
                  </a:lnTo>
                  <a:lnTo>
                    <a:pt x="452" y="604"/>
                  </a:lnTo>
                  <a:lnTo>
                    <a:pt x="452" y="546"/>
                  </a:lnTo>
                  <a:lnTo>
                    <a:pt x="470" y="546"/>
                  </a:lnTo>
                  <a:lnTo>
                    <a:pt x="470" y="622"/>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grpSp>
      <p:grpSp>
        <p:nvGrpSpPr>
          <p:cNvPr id="52" name="Group 4">
            <a:extLst>
              <a:ext uri="{FF2B5EF4-FFF2-40B4-BE49-F238E27FC236}">
                <a16:creationId xmlns:a16="http://schemas.microsoft.com/office/drawing/2014/main" id="{04C7557D-A6C2-4101-947F-8FFFAD3C2152}"/>
              </a:ext>
            </a:extLst>
          </p:cNvPr>
          <p:cNvGrpSpPr>
            <a:grpSpLocks noChangeAspect="1"/>
          </p:cNvGrpSpPr>
          <p:nvPr/>
        </p:nvGrpSpPr>
        <p:grpSpPr bwMode="black">
          <a:xfrm>
            <a:off x="9711800" y="2254296"/>
            <a:ext cx="1257300" cy="1428750"/>
            <a:chOff x="5990" y="1685"/>
            <a:chExt cx="792" cy="900"/>
          </a:xfrm>
          <a:solidFill>
            <a:schemeClr val="bg1"/>
          </a:solidFill>
        </p:grpSpPr>
        <p:sp>
          <p:nvSpPr>
            <p:cNvPr id="53" name="Freeform 5">
              <a:extLst>
                <a:ext uri="{FF2B5EF4-FFF2-40B4-BE49-F238E27FC236}">
                  <a16:creationId xmlns:a16="http://schemas.microsoft.com/office/drawing/2014/main" id="{2C8D0FDD-F492-49E7-979F-65B9E6036412}"/>
                </a:ext>
              </a:extLst>
            </p:cNvPr>
            <p:cNvSpPr>
              <a:spLocks noEditPoints="1"/>
            </p:cNvSpPr>
            <p:nvPr/>
          </p:nvSpPr>
          <p:spPr bwMode="black">
            <a:xfrm>
              <a:off x="6414" y="2155"/>
              <a:ext cx="368" cy="367"/>
            </a:xfrm>
            <a:custGeom>
              <a:avLst/>
              <a:gdLst>
                <a:gd name="T0" fmla="*/ 150 w 368"/>
                <a:gd name="T1" fmla="*/ 367 h 367"/>
                <a:gd name="T2" fmla="*/ 144 w 368"/>
                <a:gd name="T3" fmla="*/ 319 h 367"/>
                <a:gd name="T4" fmla="*/ 115 w 368"/>
                <a:gd name="T5" fmla="*/ 306 h 367"/>
                <a:gd name="T6" fmla="*/ 28 w 368"/>
                <a:gd name="T7" fmla="*/ 289 h 367"/>
                <a:gd name="T8" fmla="*/ 61 w 368"/>
                <a:gd name="T9" fmla="*/ 252 h 367"/>
                <a:gd name="T10" fmla="*/ 48 w 368"/>
                <a:gd name="T11" fmla="*/ 224 h 367"/>
                <a:gd name="T12" fmla="*/ 0 w 368"/>
                <a:gd name="T13" fmla="*/ 150 h 367"/>
                <a:gd name="T14" fmla="*/ 48 w 368"/>
                <a:gd name="T15" fmla="*/ 143 h 367"/>
                <a:gd name="T16" fmla="*/ 61 w 368"/>
                <a:gd name="T17" fmla="*/ 115 h 367"/>
                <a:gd name="T18" fmla="*/ 78 w 368"/>
                <a:gd name="T19" fmla="*/ 28 h 367"/>
                <a:gd name="T20" fmla="*/ 115 w 368"/>
                <a:gd name="T21" fmla="*/ 60 h 367"/>
                <a:gd name="T22" fmla="*/ 144 w 368"/>
                <a:gd name="T23" fmla="*/ 47 h 367"/>
                <a:gd name="T24" fmla="*/ 218 w 368"/>
                <a:gd name="T25" fmla="*/ 0 h 367"/>
                <a:gd name="T26" fmla="*/ 224 w 368"/>
                <a:gd name="T27" fmla="*/ 47 h 367"/>
                <a:gd name="T28" fmla="*/ 253 w 368"/>
                <a:gd name="T29" fmla="*/ 60 h 367"/>
                <a:gd name="T30" fmla="*/ 340 w 368"/>
                <a:gd name="T31" fmla="*/ 78 h 367"/>
                <a:gd name="T32" fmla="*/ 307 w 368"/>
                <a:gd name="T33" fmla="*/ 115 h 367"/>
                <a:gd name="T34" fmla="*/ 320 w 368"/>
                <a:gd name="T35" fmla="*/ 143 h 367"/>
                <a:gd name="T36" fmla="*/ 368 w 368"/>
                <a:gd name="T37" fmla="*/ 217 h 367"/>
                <a:gd name="T38" fmla="*/ 320 w 368"/>
                <a:gd name="T39" fmla="*/ 224 h 367"/>
                <a:gd name="T40" fmla="*/ 307 w 368"/>
                <a:gd name="T41" fmla="*/ 252 h 367"/>
                <a:gd name="T42" fmla="*/ 290 w 368"/>
                <a:gd name="T43" fmla="*/ 339 h 367"/>
                <a:gd name="T44" fmla="*/ 253 w 368"/>
                <a:gd name="T45" fmla="*/ 306 h 367"/>
                <a:gd name="T46" fmla="*/ 224 w 368"/>
                <a:gd name="T47" fmla="*/ 319 h 367"/>
                <a:gd name="T48" fmla="*/ 218 w 368"/>
                <a:gd name="T49" fmla="*/ 367 h 367"/>
                <a:gd name="T50" fmla="*/ 168 w 368"/>
                <a:gd name="T51" fmla="*/ 347 h 367"/>
                <a:gd name="T52" fmla="*/ 205 w 368"/>
                <a:gd name="T53" fmla="*/ 304 h 367"/>
                <a:gd name="T54" fmla="*/ 213 w 368"/>
                <a:gd name="T55" fmla="*/ 302 h 367"/>
                <a:gd name="T56" fmla="*/ 248 w 368"/>
                <a:gd name="T57" fmla="*/ 287 h 367"/>
                <a:gd name="T58" fmla="*/ 290 w 368"/>
                <a:gd name="T59" fmla="*/ 313 h 367"/>
                <a:gd name="T60" fmla="*/ 283 w 368"/>
                <a:gd name="T61" fmla="*/ 252 h 367"/>
                <a:gd name="T62" fmla="*/ 287 w 368"/>
                <a:gd name="T63" fmla="*/ 247 h 367"/>
                <a:gd name="T64" fmla="*/ 303 w 368"/>
                <a:gd name="T65" fmla="*/ 210 h 367"/>
                <a:gd name="T66" fmla="*/ 348 w 368"/>
                <a:gd name="T67" fmla="*/ 200 h 367"/>
                <a:gd name="T68" fmla="*/ 305 w 368"/>
                <a:gd name="T69" fmla="*/ 163 h 367"/>
                <a:gd name="T70" fmla="*/ 303 w 368"/>
                <a:gd name="T71" fmla="*/ 156 h 367"/>
                <a:gd name="T72" fmla="*/ 287 w 368"/>
                <a:gd name="T73" fmla="*/ 119 h 367"/>
                <a:gd name="T74" fmla="*/ 314 w 368"/>
                <a:gd name="T75" fmla="*/ 78 h 367"/>
                <a:gd name="T76" fmla="*/ 255 w 368"/>
                <a:gd name="T77" fmla="*/ 84 h 367"/>
                <a:gd name="T78" fmla="*/ 248 w 368"/>
                <a:gd name="T79" fmla="*/ 80 h 367"/>
                <a:gd name="T80" fmla="*/ 213 w 368"/>
                <a:gd name="T81" fmla="*/ 65 h 367"/>
                <a:gd name="T82" fmla="*/ 200 w 368"/>
                <a:gd name="T83" fmla="*/ 19 h 367"/>
                <a:gd name="T84" fmla="*/ 163 w 368"/>
                <a:gd name="T85" fmla="*/ 65 h 367"/>
                <a:gd name="T86" fmla="*/ 157 w 368"/>
                <a:gd name="T87" fmla="*/ 65 h 367"/>
                <a:gd name="T88" fmla="*/ 120 w 368"/>
                <a:gd name="T89" fmla="*/ 80 h 367"/>
                <a:gd name="T90" fmla="*/ 81 w 368"/>
                <a:gd name="T91" fmla="*/ 56 h 367"/>
                <a:gd name="T92" fmla="*/ 85 w 368"/>
                <a:gd name="T93" fmla="*/ 115 h 367"/>
                <a:gd name="T94" fmla="*/ 81 w 368"/>
                <a:gd name="T95" fmla="*/ 119 h 367"/>
                <a:gd name="T96" fmla="*/ 65 w 368"/>
                <a:gd name="T97" fmla="*/ 156 h 367"/>
                <a:gd name="T98" fmla="*/ 20 w 368"/>
                <a:gd name="T99" fmla="*/ 167 h 367"/>
                <a:gd name="T100" fmla="*/ 65 w 368"/>
                <a:gd name="T101" fmla="*/ 204 h 367"/>
                <a:gd name="T102" fmla="*/ 65 w 368"/>
                <a:gd name="T103" fmla="*/ 210 h 367"/>
                <a:gd name="T104" fmla="*/ 81 w 368"/>
                <a:gd name="T105" fmla="*/ 247 h 367"/>
                <a:gd name="T106" fmla="*/ 57 w 368"/>
                <a:gd name="T107" fmla="*/ 289 h 367"/>
                <a:gd name="T108" fmla="*/ 115 w 368"/>
                <a:gd name="T109" fmla="*/ 282 h 367"/>
                <a:gd name="T110" fmla="*/ 120 w 368"/>
                <a:gd name="T111" fmla="*/ 287 h 367"/>
                <a:gd name="T112" fmla="*/ 157 w 368"/>
                <a:gd name="T113" fmla="*/ 302 h 367"/>
                <a:gd name="T114" fmla="*/ 168 w 368"/>
                <a:gd name="T115" fmla="*/ 347 h 367"/>
                <a:gd name="T116" fmla="*/ 168 w 368"/>
                <a:gd name="T117" fmla="*/ 347 h 367"/>
                <a:gd name="T118" fmla="*/ 359 w 368"/>
                <a:gd name="T119" fmla="*/ 208 h 367"/>
                <a:gd name="T120" fmla="*/ 359 w 368"/>
                <a:gd name="T121" fmla="*/ 208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8" h="367">
                  <a:moveTo>
                    <a:pt x="218" y="367"/>
                  </a:moveTo>
                  <a:lnTo>
                    <a:pt x="150" y="367"/>
                  </a:lnTo>
                  <a:lnTo>
                    <a:pt x="144" y="319"/>
                  </a:lnTo>
                  <a:lnTo>
                    <a:pt x="144" y="319"/>
                  </a:lnTo>
                  <a:lnTo>
                    <a:pt x="131" y="313"/>
                  </a:lnTo>
                  <a:lnTo>
                    <a:pt x="115" y="306"/>
                  </a:lnTo>
                  <a:lnTo>
                    <a:pt x="78" y="339"/>
                  </a:lnTo>
                  <a:lnTo>
                    <a:pt x="28" y="289"/>
                  </a:lnTo>
                  <a:lnTo>
                    <a:pt x="61" y="252"/>
                  </a:lnTo>
                  <a:lnTo>
                    <a:pt x="61" y="252"/>
                  </a:lnTo>
                  <a:lnTo>
                    <a:pt x="55" y="237"/>
                  </a:lnTo>
                  <a:lnTo>
                    <a:pt x="48" y="224"/>
                  </a:lnTo>
                  <a:lnTo>
                    <a:pt x="0" y="217"/>
                  </a:lnTo>
                  <a:lnTo>
                    <a:pt x="0" y="150"/>
                  </a:lnTo>
                  <a:lnTo>
                    <a:pt x="48" y="143"/>
                  </a:lnTo>
                  <a:lnTo>
                    <a:pt x="48" y="143"/>
                  </a:lnTo>
                  <a:lnTo>
                    <a:pt x="55" y="130"/>
                  </a:lnTo>
                  <a:lnTo>
                    <a:pt x="61" y="115"/>
                  </a:lnTo>
                  <a:lnTo>
                    <a:pt x="28" y="78"/>
                  </a:lnTo>
                  <a:lnTo>
                    <a:pt x="78" y="28"/>
                  </a:lnTo>
                  <a:lnTo>
                    <a:pt x="115" y="60"/>
                  </a:lnTo>
                  <a:lnTo>
                    <a:pt x="115" y="60"/>
                  </a:lnTo>
                  <a:lnTo>
                    <a:pt x="131" y="54"/>
                  </a:lnTo>
                  <a:lnTo>
                    <a:pt x="144" y="47"/>
                  </a:lnTo>
                  <a:lnTo>
                    <a:pt x="150" y="0"/>
                  </a:lnTo>
                  <a:lnTo>
                    <a:pt x="218" y="0"/>
                  </a:lnTo>
                  <a:lnTo>
                    <a:pt x="224" y="47"/>
                  </a:lnTo>
                  <a:lnTo>
                    <a:pt x="224" y="47"/>
                  </a:lnTo>
                  <a:lnTo>
                    <a:pt x="237" y="54"/>
                  </a:lnTo>
                  <a:lnTo>
                    <a:pt x="253" y="60"/>
                  </a:lnTo>
                  <a:lnTo>
                    <a:pt x="290" y="28"/>
                  </a:lnTo>
                  <a:lnTo>
                    <a:pt x="340" y="78"/>
                  </a:lnTo>
                  <a:lnTo>
                    <a:pt x="307" y="115"/>
                  </a:lnTo>
                  <a:lnTo>
                    <a:pt x="307" y="115"/>
                  </a:lnTo>
                  <a:lnTo>
                    <a:pt x="314" y="130"/>
                  </a:lnTo>
                  <a:lnTo>
                    <a:pt x="320" y="143"/>
                  </a:lnTo>
                  <a:lnTo>
                    <a:pt x="368" y="150"/>
                  </a:lnTo>
                  <a:lnTo>
                    <a:pt x="368" y="217"/>
                  </a:lnTo>
                  <a:lnTo>
                    <a:pt x="320" y="224"/>
                  </a:lnTo>
                  <a:lnTo>
                    <a:pt x="320" y="224"/>
                  </a:lnTo>
                  <a:lnTo>
                    <a:pt x="314" y="237"/>
                  </a:lnTo>
                  <a:lnTo>
                    <a:pt x="307" y="252"/>
                  </a:lnTo>
                  <a:lnTo>
                    <a:pt x="340" y="289"/>
                  </a:lnTo>
                  <a:lnTo>
                    <a:pt x="290" y="339"/>
                  </a:lnTo>
                  <a:lnTo>
                    <a:pt x="253" y="306"/>
                  </a:lnTo>
                  <a:lnTo>
                    <a:pt x="253" y="306"/>
                  </a:lnTo>
                  <a:lnTo>
                    <a:pt x="237" y="313"/>
                  </a:lnTo>
                  <a:lnTo>
                    <a:pt x="224" y="319"/>
                  </a:lnTo>
                  <a:lnTo>
                    <a:pt x="218" y="367"/>
                  </a:lnTo>
                  <a:lnTo>
                    <a:pt x="218" y="367"/>
                  </a:lnTo>
                  <a:lnTo>
                    <a:pt x="218" y="367"/>
                  </a:lnTo>
                  <a:close/>
                  <a:moveTo>
                    <a:pt x="168" y="347"/>
                  </a:moveTo>
                  <a:lnTo>
                    <a:pt x="200" y="347"/>
                  </a:lnTo>
                  <a:lnTo>
                    <a:pt x="205" y="304"/>
                  </a:lnTo>
                  <a:lnTo>
                    <a:pt x="213" y="302"/>
                  </a:lnTo>
                  <a:lnTo>
                    <a:pt x="213" y="302"/>
                  </a:lnTo>
                  <a:lnTo>
                    <a:pt x="231" y="295"/>
                  </a:lnTo>
                  <a:lnTo>
                    <a:pt x="248" y="287"/>
                  </a:lnTo>
                  <a:lnTo>
                    <a:pt x="255" y="282"/>
                  </a:lnTo>
                  <a:lnTo>
                    <a:pt x="290" y="313"/>
                  </a:lnTo>
                  <a:lnTo>
                    <a:pt x="314" y="289"/>
                  </a:lnTo>
                  <a:lnTo>
                    <a:pt x="283" y="252"/>
                  </a:lnTo>
                  <a:lnTo>
                    <a:pt x="287" y="247"/>
                  </a:lnTo>
                  <a:lnTo>
                    <a:pt x="287" y="247"/>
                  </a:lnTo>
                  <a:lnTo>
                    <a:pt x="296" y="230"/>
                  </a:lnTo>
                  <a:lnTo>
                    <a:pt x="303" y="210"/>
                  </a:lnTo>
                  <a:lnTo>
                    <a:pt x="305" y="204"/>
                  </a:lnTo>
                  <a:lnTo>
                    <a:pt x="348" y="200"/>
                  </a:lnTo>
                  <a:lnTo>
                    <a:pt x="348" y="167"/>
                  </a:lnTo>
                  <a:lnTo>
                    <a:pt x="305" y="163"/>
                  </a:lnTo>
                  <a:lnTo>
                    <a:pt x="303" y="156"/>
                  </a:lnTo>
                  <a:lnTo>
                    <a:pt x="303" y="156"/>
                  </a:lnTo>
                  <a:lnTo>
                    <a:pt x="296" y="137"/>
                  </a:lnTo>
                  <a:lnTo>
                    <a:pt x="287" y="119"/>
                  </a:lnTo>
                  <a:lnTo>
                    <a:pt x="283" y="115"/>
                  </a:lnTo>
                  <a:lnTo>
                    <a:pt x="314" y="78"/>
                  </a:lnTo>
                  <a:lnTo>
                    <a:pt x="290" y="56"/>
                  </a:lnTo>
                  <a:lnTo>
                    <a:pt x="255" y="84"/>
                  </a:lnTo>
                  <a:lnTo>
                    <a:pt x="248" y="80"/>
                  </a:lnTo>
                  <a:lnTo>
                    <a:pt x="248" y="80"/>
                  </a:lnTo>
                  <a:lnTo>
                    <a:pt x="231" y="71"/>
                  </a:lnTo>
                  <a:lnTo>
                    <a:pt x="213" y="65"/>
                  </a:lnTo>
                  <a:lnTo>
                    <a:pt x="205" y="65"/>
                  </a:lnTo>
                  <a:lnTo>
                    <a:pt x="200" y="19"/>
                  </a:lnTo>
                  <a:lnTo>
                    <a:pt x="168" y="19"/>
                  </a:lnTo>
                  <a:lnTo>
                    <a:pt x="163" y="65"/>
                  </a:lnTo>
                  <a:lnTo>
                    <a:pt x="157" y="65"/>
                  </a:lnTo>
                  <a:lnTo>
                    <a:pt x="157" y="65"/>
                  </a:lnTo>
                  <a:lnTo>
                    <a:pt x="137" y="71"/>
                  </a:lnTo>
                  <a:lnTo>
                    <a:pt x="120" y="80"/>
                  </a:lnTo>
                  <a:lnTo>
                    <a:pt x="115" y="84"/>
                  </a:lnTo>
                  <a:lnTo>
                    <a:pt x="81" y="56"/>
                  </a:lnTo>
                  <a:lnTo>
                    <a:pt x="57" y="78"/>
                  </a:lnTo>
                  <a:lnTo>
                    <a:pt x="85" y="115"/>
                  </a:lnTo>
                  <a:lnTo>
                    <a:pt x="81" y="119"/>
                  </a:lnTo>
                  <a:lnTo>
                    <a:pt x="81" y="119"/>
                  </a:lnTo>
                  <a:lnTo>
                    <a:pt x="72" y="137"/>
                  </a:lnTo>
                  <a:lnTo>
                    <a:pt x="65" y="156"/>
                  </a:lnTo>
                  <a:lnTo>
                    <a:pt x="65" y="163"/>
                  </a:lnTo>
                  <a:lnTo>
                    <a:pt x="20" y="167"/>
                  </a:lnTo>
                  <a:lnTo>
                    <a:pt x="20" y="200"/>
                  </a:lnTo>
                  <a:lnTo>
                    <a:pt x="65" y="204"/>
                  </a:lnTo>
                  <a:lnTo>
                    <a:pt x="65" y="210"/>
                  </a:lnTo>
                  <a:lnTo>
                    <a:pt x="65" y="210"/>
                  </a:lnTo>
                  <a:lnTo>
                    <a:pt x="72" y="230"/>
                  </a:lnTo>
                  <a:lnTo>
                    <a:pt x="81" y="247"/>
                  </a:lnTo>
                  <a:lnTo>
                    <a:pt x="85" y="252"/>
                  </a:lnTo>
                  <a:lnTo>
                    <a:pt x="57" y="289"/>
                  </a:lnTo>
                  <a:lnTo>
                    <a:pt x="81" y="313"/>
                  </a:lnTo>
                  <a:lnTo>
                    <a:pt x="115" y="282"/>
                  </a:lnTo>
                  <a:lnTo>
                    <a:pt x="120" y="287"/>
                  </a:lnTo>
                  <a:lnTo>
                    <a:pt x="120" y="287"/>
                  </a:lnTo>
                  <a:lnTo>
                    <a:pt x="137" y="295"/>
                  </a:lnTo>
                  <a:lnTo>
                    <a:pt x="157" y="302"/>
                  </a:lnTo>
                  <a:lnTo>
                    <a:pt x="163" y="304"/>
                  </a:lnTo>
                  <a:lnTo>
                    <a:pt x="168" y="347"/>
                  </a:lnTo>
                  <a:lnTo>
                    <a:pt x="168" y="347"/>
                  </a:lnTo>
                  <a:lnTo>
                    <a:pt x="168" y="347"/>
                  </a:lnTo>
                  <a:close/>
                  <a:moveTo>
                    <a:pt x="359" y="208"/>
                  </a:moveTo>
                  <a:lnTo>
                    <a:pt x="359" y="208"/>
                  </a:lnTo>
                  <a:lnTo>
                    <a:pt x="359" y="208"/>
                  </a:lnTo>
                  <a:lnTo>
                    <a:pt x="359" y="208"/>
                  </a:lnTo>
                  <a:lnTo>
                    <a:pt x="359" y="208"/>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4" name="Freeform 6">
              <a:extLst>
                <a:ext uri="{FF2B5EF4-FFF2-40B4-BE49-F238E27FC236}">
                  <a16:creationId xmlns:a16="http://schemas.microsoft.com/office/drawing/2014/main" id="{9F905A07-C9BF-440B-B67A-9F4E62B4263D}"/>
                </a:ext>
              </a:extLst>
            </p:cNvPr>
            <p:cNvSpPr>
              <a:spLocks noEditPoints="1"/>
            </p:cNvSpPr>
            <p:nvPr/>
          </p:nvSpPr>
          <p:spPr bwMode="black">
            <a:xfrm>
              <a:off x="6133" y="1685"/>
              <a:ext cx="331" cy="135"/>
            </a:xfrm>
            <a:custGeom>
              <a:avLst/>
              <a:gdLst>
                <a:gd name="T0" fmla="*/ 331 w 331"/>
                <a:gd name="T1" fmla="*/ 135 h 135"/>
                <a:gd name="T2" fmla="*/ 0 w 331"/>
                <a:gd name="T3" fmla="*/ 135 h 135"/>
                <a:gd name="T4" fmla="*/ 0 w 331"/>
                <a:gd name="T5" fmla="*/ 0 h 135"/>
                <a:gd name="T6" fmla="*/ 331 w 331"/>
                <a:gd name="T7" fmla="*/ 0 h 135"/>
                <a:gd name="T8" fmla="*/ 331 w 331"/>
                <a:gd name="T9" fmla="*/ 135 h 135"/>
                <a:gd name="T10" fmla="*/ 331 w 331"/>
                <a:gd name="T11" fmla="*/ 135 h 135"/>
                <a:gd name="T12" fmla="*/ 331 w 331"/>
                <a:gd name="T13" fmla="*/ 135 h 135"/>
                <a:gd name="T14" fmla="*/ 20 w 331"/>
                <a:gd name="T15" fmla="*/ 115 h 135"/>
                <a:gd name="T16" fmla="*/ 312 w 331"/>
                <a:gd name="T17" fmla="*/ 115 h 135"/>
                <a:gd name="T18" fmla="*/ 312 w 331"/>
                <a:gd name="T19" fmla="*/ 20 h 135"/>
                <a:gd name="T20" fmla="*/ 20 w 331"/>
                <a:gd name="T21" fmla="*/ 20 h 135"/>
                <a:gd name="T22" fmla="*/ 20 w 331"/>
                <a:gd name="T23" fmla="*/ 115 h 135"/>
                <a:gd name="T24" fmla="*/ 20 w 331"/>
                <a:gd name="T25" fmla="*/ 115 h 135"/>
                <a:gd name="T26" fmla="*/ 20 w 331"/>
                <a:gd name="T27"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1" h="135">
                  <a:moveTo>
                    <a:pt x="331" y="135"/>
                  </a:moveTo>
                  <a:lnTo>
                    <a:pt x="0" y="135"/>
                  </a:lnTo>
                  <a:lnTo>
                    <a:pt x="0" y="0"/>
                  </a:lnTo>
                  <a:lnTo>
                    <a:pt x="331" y="0"/>
                  </a:lnTo>
                  <a:lnTo>
                    <a:pt x="331" y="135"/>
                  </a:lnTo>
                  <a:lnTo>
                    <a:pt x="331" y="135"/>
                  </a:lnTo>
                  <a:lnTo>
                    <a:pt x="331" y="135"/>
                  </a:lnTo>
                  <a:close/>
                  <a:moveTo>
                    <a:pt x="20" y="115"/>
                  </a:moveTo>
                  <a:lnTo>
                    <a:pt x="312" y="115"/>
                  </a:lnTo>
                  <a:lnTo>
                    <a:pt x="312" y="20"/>
                  </a:lnTo>
                  <a:lnTo>
                    <a:pt x="20" y="20"/>
                  </a:lnTo>
                  <a:lnTo>
                    <a:pt x="20" y="115"/>
                  </a:lnTo>
                  <a:lnTo>
                    <a:pt x="20" y="115"/>
                  </a:lnTo>
                  <a:lnTo>
                    <a:pt x="20" y="115"/>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5" name="Freeform 7">
              <a:extLst>
                <a:ext uri="{FF2B5EF4-FFF2-40B4-BE49-F238E27FC236}">
                  <a16:creationId xmlns:a16="http://schemas.microsoft.com/office/drawing/2014/main" id="{4C7D505E-3892-434E-812F-FCC6D5069337}"/>
                </a:ext>
              </a:extLst>
            </p:cNvPr>
            <p:cNvSpPr>
              <a:spLocks/>
            </p:cNvSpPr>
            <p:nvPr/>
          </p:nvSpPr>
          <p:spPr bwMode="black">
            <a:xfrm>
              <a:off x="5990" y="1744"/>
              <a:ext cx="618" cy="841"/>
            </a:xfrm>
            <a:custGeom>
              <a:avLst/>
              <a:gdLst>
                <a:gd name="T0" fmla="*/ 618 w 618"/>
                <a:gd name="T1" fmla="*/ 841 h 841"/>
                <a:gd name="T2" fmla="*/ 0 w 618"/>
                <a:gd name="T3" fmla="*/ 841 h 841"/>
                <a:gd name="T4" fmla="*/ 0 w 618"/>
                <a:gd name="T5" fmla="*/ 0 h 841"/>
                <a:gd name="T6" fmla="*/ 154 w 618"/>
                <a:gd name="T7" fmla="*/ 0 h 841"/>
                <a:gd name="T8" fmla="*/ 154 w 618"/>
                <a:gd name="T9" fmla="*/ 19 h 841"/>
                <a:gd name="T10" fmla="*/ 19 w 618"/>
                <a:gd name="T11" fmla="*/ 19 h 841"/>
                <a:gd name="T12" fmla="*/ 19 w 618"/>
                <a:gd name="T13" fmla="*/ 822 h 841"/>
                <a:gd name="T14" fmla="*/ 598 w 618"/>
                <a:gd name="T15" fmla="*/ 822 h 841"/>
                <a:gd name="T16" fmla="*/ 598 w 618"/>
                <a:gd name="T17" fmla="*/ 769 h 841"/>
                <a:gd name="T18" fmla="*/ 618 w 618"/>
                <a:gd name="T19" fmla="*/ 769 h 841"/>
                <a:gd name="T20" fmla="*/ 618 w 618"/>
                <a:gd name="T21" fmla="*/ 841 h 841"/>
                <a:gd name="T22" fmla="*/ 618 w 618"/>
                <a:gd name="T23" fmla="*/ 841 h 841"/>
                <a:gd name="T24" fmla="*/ 618 w 618"/>
                <a:gd name="T25" fmla="*/ 8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8" h="841">
                  <a:moveTo>
                    <a:pt x="618" y="841"/>
                  </a:moveTo>
                  <a:lnTo>
                    <a:pt x="0" y="841"/>
                  </a:lnTo>
                  <a:lnTo>
                    <a:pt x="0" y="0"/>
                  </a:lnTo>
                  <a:lnTo>
                    <a:pt x="154" y="0"/>
                  </a:lnTo>
                  <a:lnTo>
                    <a:pt x="154" y="19"/>
                  </a:lnTo>
                  <a:lnTo>
                    <a:pt x="19" y="19"/>
                  </a:lnTo>
                  <a:lnTo>
                    <a:pt x="19" y="822"/>
                  </a:lnTo>
                  <a:lnTo>
                    <a:pt x="598" y="822"/>
                  </a:lnTo>
                  <a:lnTo>
                    <a:pt x="598" y="769"/>
                  </a:lnTo>
                  <a:lnTo>
                    <a:pt x="618" y="769"/>
                  </a:lnTo>
                  <a:lnTo>
                    <a:pt x="618" y="841"/>
                  </a:lnTo>
                  <a:lnTo>
                    <a:pt x="618" y="841"/>
                  </a:lnTo>
                  <a:lnTo>
                    <a:pt x="618" y="841"/>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6" name="Freeform 8">
              <a:extLst>
                <a:ext uri="{FF2B5EF4-FFF2-40B4-BE49-F238E27FC236}">
                  <a16:creationId xmlns:a16="http://schemas.microsoft.com/office/drawing/2014/main" id="{8DDA5D5E-B352-43E3-865F-843DA5906341}"/>
                </a:ext>
              </a:extLst>
            </p:cNvPr>
            <p:cNvSpPr>
              <a:spLocks/>
            </p:cNvSpPr>
            <p:nvPr/>
          </p:nvSpPr>
          <p:spPr bwMode="black">
            <a:xfrm>
              <a:off x="6453" y="1744"/>
              <a:ext cx="155" cy="419"/>
            </a:xfrm>
            <a:custGeom>
              <a:avLst/>
              <a:gdLst>
                <a:gd name="T0" fmla="*/ 155 w 155"/>
                <a:gd name="T1" fmla="*/ 419 h 419"/>
                <a:gd name="T2" fmla="*/ 135 w 155"/>
                <a:gd name="T3" fmla="*/ 419 h 419"/>
                <a:gd name="T4" fmla="*/ 135 w 155"/>
                <a:gd name="T5" fmla="*/ 19 h 419"/>
                <a:gd name="T6" fmla="*/ 0 w 155"/>
                <a:gd name="T7" fmla="*/ 19 h 419"/>
                <a:gd name="T8" fmla="*/ 0 w 155"/>
                <a:gd name="T9" fmla="*/ 0 h 419"/>
                <a:gd name="T10" fmla="*/ 155 w 155"/>
                <a:gd name="T11" fmla="*/ 0 h 419"/>
                <a:gd name="T12" fmla="*/ 155 w 155"/>
                <a:gd name="T13" fmla="*/ 419 h 419"/>
                <a:gd name="T14" fmla="*/ 155 w 155"/>
                <a:gd name="T15" fmla="*/ 419 h 419"/>
                <a:gd name="T16" fmla="*/ 155 w 155"/>
                <a:gd name="T1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419">
                  <a:moveTo>
                    <a:pt x="155" y="419"/>
                  </a:moveTo>
                  <a:lnTo>
                    <a:pt x="135" y="419"/>
                  </a:lnTo>
                  <a:lnTo>
                    <a:pt x="135" y="19"/>
                  </a:lnTo>
                  <a:lnTo>
                    <a:pt x="0" y="19"/>
                  </a:lnTo>
                  <a:lnTo>
                    <a:pt x="0" y="0"/>
                  </a:lnTo>
                  <a:lnTo>
                    <a:pt x="155" y="0"/>
                  </a:lnTo>
                  <a:lnTo>
                    <a:pt x="155" y="419"/>
                  </a:lnTo>
                  <a:lnTo>
                    <a:pt x="155" y="419"/>
                  </a:lnTo>
                  <a:lnTo>
                    <a:pt x="155" y="419"/>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7" name="Freeform 9">
              <a:extLst>
                <a:ext uri="{FF2B5EF4-FFF2-40B4-BE49-F238E27FC236}">
                  <a16:creationId xmlns:a16="http://schemas.microsoft.com/office/drawing/2014/main" id="{2C0B7D43-D499-4591-BD58-3BBB2ED5B951}"/>
                </a:ext>
              </a:extLst>
            </p:cNvPr>
            <p:cNvSpPr>
              <a:spLocks/>
            </p:cNvSpPr>
            <p:nvPr/>
          </p:nvSpPr>
          <p:spPr bwMode="black">
            <a:xfrm>
              <a:off x="6225" y="1744"/>
              <a:ext cx="146" cy="19"/>
            </a:xfrm>
            <a:custGeom>
              <a:avLst/>
              <a:gdLst>
                <a:gd name="T0" fmla="*/ 0 w 146"/>
                <a:gd name="T1" fmla="*/ 0 h 19"/>
                <a:gd name="T2" fmla="*/ 146 w 146"/>
                <a:gd name="T3" fmla="*/ 0 h 19"/>
                <a:gd name="T4" fmla="*/ 146 w 146"/>
                <a:gd name="T5" fmla="*/ 19 h 19"/>
                <a:gd name="T6" fmla="*/ 0 w 146"/>
                <a:gd name="T7" fmla="*/ 19 h 19"/>
                <a:gd name="T8" fmla="*/ 0 w 146"/>
                <a:gd name="T9" fmla="*/ 0 h 19"/>
                <a:gd name="T10" fmla="*/ 0 w 146"/>
                <a:gd name="T11" fmla="*/ 0 h 19"/>
              </a:gdLst>
              <a:ahLst/>
              <a:cxnLst>
                <a:cxn ang="0">
                  <a:pos x="T0" y="T1"/>
                </a:cxn>
                <a:cxn ang="0">
                  <a:pos x="T2" y="T3"/>
                </a:cxn>
                <a:cxn ang="0">
                  <a:pos x="T4" y="T5"/>
                </a:cxn>
                <a:cxn ang="0">
                  <a:pos x="T6" y="T7"/>
                </a:cxn>
                <a:cxn ang="0">
                  <a:pos x="T8" y="T9"/>
                </a:cxn>
                <a:cxn ang="0">
                  <a:pos x="T10" y="T11"/>
                </a:cxn>
              </a:cxnLst>
              <a:rect l="0" t="0" r="r" b="b"/>
              <a:pathLst>
                <a:path w="146" h="19">
                  <a:moveTo>
                    <a:pt x="0" y="0"/>
                  </a:moveTo>
                  <a:lnTo>
                    <a:pt x="146" y="0"/>
                  </a:lnTo>
                  <a:lnTo>
                    <a:pt x="146" y="19"/>
                  </a:lnTo>
                  <a:lnTo>
                    <a:pt x="0" y="19"/>
                  </a:lnTo>
                  <a:lnTo>
                    <a:pt x="0" y="0"/>
                  </a:lnTo>
                  <a:lnTo>
                    <a:pt x="0" y="0"/>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8" name="Freeform 10">
              <a:extLst>
                <a:ext uri="{FF2B5EF4-FFF2-40B4-BE49-F238E27FC236}">
                  <a16:creationId xmlns:a16="http://schemas.microsoft.com/office/drawing/2014/main" id="{BBBD4698-E33E-4551-A744-ABC253A2072A}"/>
                </a:ext>
              </a:extLst>
            </p:cNvPr>
            <p:cNvSpPr>
              <a:spLocks/>
            </p:cNvSpPr>
            <p:nvPr/>
          </p:nvSpPr>
          <p:spPr bwMode="black">
            <a:xfrm>
              <a:off x="6064" y="1918"/>
              <a:ext cx="130" cy="93"/>
            </a:xfrm>
            <a:custGeom>
              <a:avLst/>
              <a:gdLst>
                <a:gd name="T0" fmla="*/ 50 w 130"/>
                <a:gd name="T1" fmla="*/ 93 h 93"/>
                <a:gd name="T2" fmla="*/ 0 w 130"/>
                <a:gd name="T3" fmla="*/ 41 h 93"/>
                <a:gd name="T4" fmla="*/ 13 w 130"/>
                <a:gd name="T5" fmla="*/ 28 h 93"/>
                <a:gd name="T6" fmla="*/ 50 w 130"/>
                <a:gd name="T7" fmla="*/ 65 h 93"/>
                <a:gd name="T8" fmla="*/ 117 w 130"/>
                <a:gd name="T9" fmla="*/ 0 h 93"/>
                <a:gd name="T10" fmla="*/ 130 w 130"/>
                <a:gd name="T11" fmla="*/ 13 h 93"/>
                <a:gd name="T12" fmla="*/ 50 w 130"/>
                <a:gd name="T13" fmla="*/ 93 h 93"/>
                <a:gd name="T14" fmla="*/ 50 w 130"/>
                <a:gd name="T15" fmla="*/ 93 h 93"/>
                <a:gd name="T16" fmla="*/ 50 w 13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3">
                  <a:moveTo>
                    <a:pt x="50" y="93"/>
                  </a:moveTo>
                  <a:lnTo>
                    <a:pt x="0" y="41"/>
                  </a:lnTo>
                  <a:lnTo>
                    <a:pt x="13" y="28"/>
                  </a:lnTo>
                  <a:lnTo>
                    <a:pt x="50" y="65"/>
                  </a:lnTo>
                  <a:lnTo>
                    <a:pt x="117" y="0"/>
                  </a:lnTo>
                  <a:lnTo>
                    <a:pt x="130" y="13"/>
                  </a:lnTo>
                  <a:lnTo>
                    <a:pt x="50" y="93"/>
                  </a:lnTo>
                  <a:lnTo>
                    <a:pt x="50" y="93"/>
                  </a:lnTo>
                  <a:lnTo>
                    <a:pt x="50" y="93"/>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59" name="Freeform 11">
              <a:extLst>
                <a:ext uri="{FF2B5EF4-FFF2-40B4-BE49-F238E27FC236}">
                  <a16:creationId xmlns:a16="http://schemas.microsoft.com/office/drawing/2014/main" id="{B0E6EB10-94BC-428B-A4EE-88A02383C3F6}"/>
                </a:ext>
              </a:extLst>
            </p:cNvPr>
            <p:cNvSpPr>
              <a:spLocks/>
            </p:cNvSpPr>
            <p:nvPr/>
          </p:nvSpPr>
          <p:spPr bwMode="black">
            <a:xfrm>
              <a:off x="6064" y="2070"/>
              <a:ext cx="130" cy="93"/>
            </a:xfrm>
            <a:custGeom>
              <a:avLst/>
              <a:gdLst>
                <a:gd name="T0" fmla="*/ 50 w 130"/>
                <a:gd name="T1" fmla="*/ 93 h 93"/>
                <a:gd name="T2" fmla="*/ 0 w 130"/>
                <a:gd name="T3" fmla="*/ 43 h 93"/>
                <a:gd name="T4" fmla="*/ 13 w 130"/>
                <a:gd name="T5" fmla="*/ 28 h 93"/>
                <a:gd name="T6" fmla="*/ 50 w 130"/>
                <a:gd name="T7" fmla="*/ 65 h 93"/>
                <a:gd name="T8" fmla="*/ 117 w 130"/>
                <a:gd name="T9" fmla="*/ 0 h 93"/>
                <a:gd name="T10" fmla="*/ 130 w 130"/>
                <a:gd name="T11" fmla="*/ 13 h 93"/>
                <a:gd name="T12" fmla="*/ 50 w 130"/>
                <a:gd name="T13" fmla="*/ 93 h 93"/>
                <a:gd name="T14" fmla="*/ 50 w 130"/>
                <a:gd name="T15" fmla="*/ 93 h 93"/>
                <a:gd name="T16" fmla="*/ 50 w 13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3">
                  <a:moveTo>
                    <a:pt x="50" y="93"/>
                  </a:moveTo>
                  <a:lnTo>
                    <a:pt x="0" y="43"/>
                  </a:lnTo>
                  <a:lnTo>
                    <a:pt x="13" y="28"/>
                  </a:lnTo>
                  <a:lnTo>
                    <a:pt x="50" y="65"/>
                  </a:lnTo>
                  <a:lnTo>
                    <a:pt x="117" y="0"/>
                  </a:lnTo>
                  <a:lnTo>
                    <a:pt x="130" y="13"/>
                  </a:lnTo>
                  <a:lnTo>
                    <a:pt x="50" y="93"/>
                  </a:lnTo>
                  <a:lnTo>
                    <a:pt x="50" y="93"/>
                  </a:lnTo>
                  <a:lnTo>
                    <a:pt x="50" y="93"/>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0" name="Freeform 12">
              <a:extLst>
                <a:ext uri="{FF2B5EF4-FFF2-40B4-BE49-F238E27FC236}">
                  <a16:creationId xmlns:a16="http://schemas.microsoft.com/office/drawing/2014/main" id="{28899945-FA58-4B1B-95FA-B433316CF1C7}"/>
                </a:ext>
              </a:extLst>
            </p:cNvPr>
            <p:cNvSpPr>
              <a:spLocks/>
            </p:cNvSpPr>
            <p:nvPr/>
          </p:nvSpPr>
          <p:spPr bwMode="black">
            <a:xfrm>
              <a:off x="6064" y="2222"/>
              <a:ext cx="130" cy="93"/>
            </a:xfrm>
            <a:custGeom>
              <a:avLst/>
              <a:gdLst>
                <a:gd name="T0" fmla="*/ 50 w 130"/>
                <a:gd name="T1" fmla="*/ 93 h 93"/>
                <a:gd name="T2" fmla="*/ 0 w 130"/>
                <a:gd name="T3" fmla="*/ 43 h 93"/>
                <a:gd name="T4" fmla="*/ 13 w 130"/>
                <a:gd name="T5" fmla="*/ 28 h 93"/>
                <a:gd name="T6" fmla="*/ 50 w 130"/>
                <a:gd name="T7" fmla="*/ 65 h 93"/>
                <a:gd name="T8" fmla="*/ 117 w 130"/>
                <a:gd name="T9" fmla="*/ 0 h 93"/>
                <a:gd name="T10" fmla="*/ 130 w 130"/>
                <a:gd name="T11" fmla="*/ 13 h 93"/>
                <a:gd name="T12" fmla="*/ 50 w 130"/>
                <a:gd name="T13" fmla="*/ 93 h 93"/>
                <a:gd name="T14" fmla="*/ 50 w 130"/>
                <a:gd name="T15" fmla="*/ 93 h 93"/>
                <a:gd name="T16" fmla="*/ 50 w 13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3">
                  <a:moveTo>
                    <a:pt x="50" y="93"/>
                  </a:moveTo>
                  <a:lnTo>
                    <a:pt x="0" y="43"/>
                  </a:lnTo>
                  <a:lnTo>
                    <a:pt x="13" y="28"/>
                  </a:lnTo>
                  <a:lnTo>
                    <a:pt x="50" y="65"/>
                  </a:lnTo>
                  <a:lnTo>
                    <a:pt x="117" y="0"/>
                  </a:lnTo>
                  <a:lnTo>
                    <a:pt x="130" y="13"/>
                  </a:lnTo>
                  <a:lnTo>
                    <a:pt x="50" y="93"/>
                  </a:lnTo>
                  <a:lnTo>
                    <a:pt x="50" y="93"/>
                  </a:lnTo>
                  <a:lnTo>
                    <a:pt x="50" y="93"/>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1" name="Freeform 13">
              <a:extLst>
                <a:ext uri="{FF2B5EF4-FFF2-40B4-BE49-F238E27FC236}">
                  <a16:creationId xmlns:a16="http://schemas.microsoft.com/office/drawing/2014/main" id="{613D7827-3C40-4AF2-A8D1-E7AAFF64ACE8}"/>
                </a:ext>
              </a:extLst>
            </p:cNvPr>
            <p:cNvSpPr>
              <a:spLocks/>
            </p:cNvSpPr>
            <p:nvPr/>
          </p:nvSpPr>
          <p:spPr bwMode="black">
            <a:xfrm>
              <a:off x="6064" y="2374"/>
              <a:ext cx="130" cy="94"/>
            </a:xfrm>
            <a:custGeom>
              <a:avLst/>
              <a:gdLst>
                <a:gd name="T0" fmla="*/ 50 w 130"/>
                <a:gd name="T1" fmla="*/ 94 h 94"/>
                <a:gd name="T2" fmla="*/ 0 w 130"/>
                <a:gd name="T3" fmla="*/ 44 h 94"/>
                <a:gd name="T4" fmla="*/ 13 w 130"/>
                <a:gd name="T5" fmla="*/ 28 h 94"/>
                <a:gd name="T6" fmla="*/ 50 w 130"/>
                <a:gd name="T7" fmla="*/ 68 h 94"/>
                <a:gd name="T8" fmla="*/ 117 w 130"/>
                <a:gd name="T9" fmla="*/ 0 h 94"/>
                <a:gd name="T10" fmla="*/ 130 w 130"/>
                <a:gd name="T11" fmla="*/ 13 h 94"/>
                <a:gd name="T12" fmla="*/ 50 w 130"/>
                <a:gd name="T13" fmla="*/ 94 h 94"/>
                <a:gd name="T14" fmla="*/ 50 w 130"/>
                <a:gd name="T15" fmla="*/ 94 h 94"/>
                <a:gd name="T16" fmla="*/ 50 w 130"/>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4">
                  <a:moveTo>
                    <a:pt x="50" y="94"/>
                  </a:moveTo>
                  <a:lnTo>
                    <a:pt x="0" y="44"/>
                  </a:lnTo>
                  <a:lnTo>
                    <a:pt x="13" y="28"/>
                  </a:lnTo>
                  <a:lnTo>
                    <a:pt x="50" y="68"/>
                  </a:lnTo>
                  <a:lnTo>
                    <a:pt x="117" y="0"/>
                  </a:lnTo>
                  <a:lnTo>
                    <a:pt x="130" y="13"/>
                  </a:lnTo>
                  <a:lnTo>
                    <a:pt x="50" y="94"/>
                  </a:lnTo>
                  <a:lnTo>
                    <a:pt x="50" y="94"/>
                  </a:lnTo>
                  <a:lnTo>
                    <a:pt x="50" y="94"/>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2" name="Freeform 14">
              <a:extLst>
                <a:ext uri="{FF2B5EF4-FFF2-40B4-BE49-F238E27FC236}">
                  <a16:creationId xmlns:a16="http://schemas.microsoft.com/office/drawing/2014/main" id="{0578DE94-7F2E-47D7-8C01-A738566459FC}"/>
                </a:ext>
              </a:extLst>
            </p:cNvPr>
            <p:cNvSpPr>
              <a:spLocks/>
            </p:cNvSpPr>
            <p:nvPr/>
          </p:nvSpPr>
          <p:spPr bwMode="black">
            <a:xfrm>
              <a:off x="6251" y="1955"/>
              <a:ext cx="263" cy="19"/>
            </a:xfrm>
            <a:custGeom>
              <a:avLst/>
              <a:gdLst>
                <a:gd name="T0" fmla="*/ 0 w 263"/>
                <a:gd name="T1" fmla="*/ 0 h 19"/>
                <a:gd name="T2" fmla="*/ 263 w 263"/>
                <a:gd name="T3" fmla="*/ 0 h 19"/>
                <a:gd name="T4" fmla="*/ 263 w 263"/>
                <a:gd name="T5" fmla="*/ 19 h 19"/>
                <a:gd name="T6" fmla="*/ 0 w 263"/>
                <a:gd name="T7" fmla="*/ 19 h 19"/>
                <a:gd name="T8" fmla="*/ 0 w 263"/>
                <a:gd name="T9" fmla="*/ 0 h 19"/>
                <a:gd name="T10" fmla="*/ 0 w 263"/>
                <a:gd name="T11" fmla="*/ 0 h 19"/>
              </a:gdLst>
              <a:ahLst/>
              <a:cxnLst>
                <a:cxn ang="0">
                  <a:pos x="T0" y="T1"/>
                </a:cxn>
                <a:cxn ang="0">
                  <a:pos x="T2" y="T3"/>
                </a:cxn>
                <a:cxn ang="0">
                  <a:pos x="T4" y="T5"/>
                </a:cxn>
                <a:cxn ang="0">
                  <a:pos x="T6" y="T7"/>
                </a:cxn>
                <a:cxn ang="0">
                  <a:pos x="T8" y="T9"/>
                </a:cxn>
                <a:cxn ang="0">
                  <a:pos x="T10" y="T11"/>
                </a:cxn>
              </a:cxnLst>
              <a:rect l="0" t="0" r="r" b="b"/>
              <a:pathLst>
                <a:path w="263" h="19">
                  <a:moveTo>
                    <a:pt x="0" y="0"/>
                  </a:moveTo>
                  <a:lnTo>
                    <a:pt x="263" y="0"/>
                  </a:lnTo>
                  <a:lnTo>
                    <a:pt x="263" y="19"/>
                  </a:lnTo>
                  <a:lnTo>
                    <a:pt x="0" y="19"/>
                  </a:lnTo>
                  <a:lnTo>
                    <a:pt x="0" y="0"/>
                  </a:lnTo>
                  <a:lnTo>
                    <a:pt x="0" y="0"/>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3" name="Freeform 15">
              <a:extLst>
                <a:ext uri="{FF2B5EF4-FFF2-40B4-BE49-F238E27FC236}">
                  <a16:creationId xmlns:a16="http://schemas.microsoft.com/office/drawing/2014/main" id="{03EAD327-325B-466F-88AF-6BE5AC1E70AD}"/>
                </a:ext>
              </a:extLst>
            </p:cNvPr>
            <p:cNvSpPr>
              <a:spLocks/>
            </p:cNvSpPr>
            <p:nvPr/>
          </p:nvSpPr>
          <p:spPr bwMode="black">
            <a:xfrm>
              <a:off x="6251" y="2107"/>
              <a:ext cx="263" cy="19"/>
            </a:xfrm>
            <a:custGeom>
              <a:avLst/>
              <a:gdLst>
                <a:gd name="T0" fmla="*/ 0 w 263"/>
                <a:gd name="T1" fmla="*/ 0 h 19"/>
                <a:gd name="T2" fmla="*/ 263 w 263"/>
                <a:gd name="T3" fmla="*/ 0 h 19"/>
                <a:gd name="T4" fmla="*/ 263 w 263"/>
                <a:gd name="T5" fmla="*/ 19 h 19"/>
                <a:gd name="T6" fmla="*/ 0 w 263"/>
                <a:gd name="T7" fmla="*/ 19 h 19"/>
                <a:gd name="T8" fmla="*/ 0 w 263"/>
                <a:gd name="T9" fmla="*/ 0 h 19"/>
                <a:gd name="T10" fmla="*/ 0 w 263"/>
                <a:gd name="T11" fmla="*/ 0 h 19"/>
              </a:gdLst>
              <a:ahLst/>
              <a:cxnLst>
                <a:cxn ang="0">
                  <a:pos x="T0" y="T1"/>
                </a:cxn>
                <a:cxn ang="0">
                  <a:pos x="T2" y="T3"/>
                </a:cxn>
                <a:cxn ang="0">
                  <a:pos x="T4" y="T5"/>
                </a:cxn>
                <a:cxn ang="0">
                  <a:pos x="T6" y="T7"/>
                </a:cxn>
                <a:cxn ang="0">
                  <a:pos x="T8" y="T9"/>
                </a:cxn>
                <a:cxn ang="0">
                  <a:pos x="T10" y="T11"/>
                </a:cxn>
              </a:cxnLst>
              <a:rect l="0" t="0" r="r" b="b"/>
              <a:pathLst>
                <a:path w="263" h="19">
                  <a:moveTo>
                    <a:pt x="0" y="0"/>
                  </a:moveTo>
                  <a:lnTo>
                    <a:pt x="263" y="0"/>
                  </a:lnTo>
                  <a:lnTo>
                    <a:pt x="263" y="19"/>
                  </a:lnTo>
                  <a:lnTo>
                    <a:pt x="0" y="19"/>
                  </a:lnTo>
                  <a:lnTo>
                    <a:pt x="0" y="0"/>
                  </a:lnTo>
                  <a:lnTo>
                    <a:pt x="0" y="0"/>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4" name="Freeform 16">
              <a:extLst>
                <a:ext uri="{FF2B5EF4-FFF2-40B4-BE49-F238E27FC236}">
                  <a16:creationId xmlns:a16="http://schemas.microsoft.com/office/drawing/2014/main" id="{A69FE943-CE75-42AE-B12F-569E3421EF9D}"/>
                </a:ext>
              </a:extLst>
            </p:cNvPr>
            <p:cNvSpPr>
              <a:spLocks/>
            </p:cNvSpPr>
            <p:nvPr/>
          </p:nvSpPr>
          <p:spPr bwMode="black">
            <a:xfrm>
              <a:off x="6251" y="2259"/>
              <a:ext cx="141" cy="20"/>
            </a:xfrm>
            <a:custGeom>
              <a:avLst/>
              <a:gdLst>
                <a:gd name="T0" fmla="*/ 0 w 141"/>
                <a:gd name="T1" fmla="*/ 0 h 20"/>
                <a:gd name="T2" fmla="*/ 141 w 141"/>
                <a:gd name="T3" fmla="*/ 0 h 20"/>
                <a:gd name="T4" fmla="*/ 141 w 141"/>
                <a:gd name="T5" fmla="*/ 20 h 20"/>
                <a:gd name="T6" fmla="*/ 0 w 141"/>
                <a:gd name="T7" fmla="*/ 20 h 20"/>
                <a:gd name="T8" fmla="*/ 0 w 141"/>
                <a:gd name="T9" fmla="*/ 0 h 20"/>
                <a:gd name="T10" fmla="*/ 0 w 141"/>
                <a:gd name="T11" fmla="*/ 0 h 20"/>
              </a:gdLst>
              <a:ahLst/>
              <a:cxnLst>
                <a:cxn ang="0">
                  <a:pos x="T0" y="T1"/>
                </a:cxn>
                <a:cxn ang="0">
                  <a:pos x="T2" y="T3"/>
                </a:cxn>
                <a:cxn ang="0">
                  <a:pos x="T4" y="T5"/>
                </a:cxn>
                <a:cxn ang="0">
                  <a:pos x="T6" y="T7"/>
                </a:cxn>
                <a:cxn ang="0">
                  <a:pos x="T8" y="T9"/>
                </a:cxn>
                <a:cxn ang="0">
                  <a:pos x="T10" y="T11"/>
                </a:cxn>
              </a:cxnLst>
              <a:rect l="0" t="0" r="r" b="b"/>
              <a:pathLst>
                <a:path w="141" h="20">
                  <a:moveTo>
                    <a:pt x="0" y="0"/>
                  </a:moveTo>
                  <a:lnTo>
                    <a:pt x="141" y="0"/>
                  </a:lnTo>
                  <a:lnTo>
                    <a:pt x="141" y="20"/>
                  </a:lnTo>
                  <a:lnTo>
                    <a:pt x="0" y="20"/>
                  </a:lnTo>
                  <a:lnTo>
                    <a:pt x="0" y="0"/>
                  </a:lnTo>
                  <a:lnTo>
                    <a:pt x="0" y="0"/>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5" name="Freeform 17">
              <a:extLst>
                <a:ext uri="{FF2B5EF4-FFF2-40B4-BE49-F238E27FC236}">
                  <a16:creationId xmlns:a16="http://schemas.microsoft.com/office/drawing/2014/main" id="{7E8D3F2A-BB12-4911-8DE9-9FE494C88682}"/>
                </a:ext>
              </a:extLst>
            </p:cNvPr>
            <p:cNvSpPr>
              <a:spLocks/>
            </p:cNvSpPr>
            <p:nvPr/>
          </p:nvSpPr>
          <p:spPr bwMode="black">
            <a:xfrm>
              <a:off x="6251" y="2411"/>
              <a:ext cx="141" cy="20"/>
            </a:xfrm>
            <a:custGeom>
              <a:avLst/>
              <a:gdLst>
                <a:gd name="T0" fmla="*/ 0 w 141"/>
                <a:gd name="T1" fmla="*/ 0 h 20"/>
                <a:gd name="T2" fmla="*/ 141 w 141"/>
                <a:gd name="T3" fmla="*/ 0 h 20"/>
                <a:gd name="T4" fmla="*/ 141 w 141"/>
                <a:gd name="T5" fmla="*/ 20 h 20"/>
                <a:gd name="T6" fmla="*/ 0 w 141"/>
                <a:gd name="T7" fmla="*/ 20 h 20"/>
                <a:gd name="T8" fmla="*/ 0 w 141"/>
                <a:gd name="T9" fmla="*/ 0 h 20"/>
                <a:gd name="T10" fmla="*/ 0 w 141"/>
                <a:gd name="T11" fmla="*/ 0 h 20"/>
              </a:gdLst>
              <a:ahLst/>
              <a:cxnLst>
                <a:cxn ang="0">
                  <a:pos x="T0" y="T1"/>
                </a:cxn>
                <a:cxn ang="0">
                  <a:pos x="T2" y="T3"/>
                </a:cxn>
                <a:cxn ang="0">
                  <a:pos x="T4" y="T5"/>
                </a:cxn>
                <a:cxn ang="0">
                  <a:pos x="T6" y="T7"/>
                </a:cxn>
                <a:cxn ang="0">
                  <a:pos x="T8" y="T9"/>
                </a:cxn>
                <a:cxn ang="0">
                  <a:pos x="T10" y="T11"/>
                </a:cxn>
              </a:cxnLst>
              <a:rect l="0" t="0" r="r" b="b"/>
              <a:pathLst>
                <a:path w="141" h="20">
                  <a:moveTo>
                    <a:pt x="0" y="0"/>
                  </a:moveTo>
                  <a:lnTo>
                    <a:pt x="141" y="0"/>
                  </a:lnTo>
                  <a:lnTo>
                    <a:pt x="141" y="20"/>
                  </a:lnTo>
                  <a:lnTo>
                    <a:pt x="0" y="20"/>
                  </a:lnTo>
                  <a:lnTo>
                    <a:pt x="0" y="0"/>
                  </a:lnTo>
                  <a:lnTo>
                    <a:pt x="0" y="0"/>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66" name="Freeform 18">
              <a:extLst>
                <a:ext uri="{FF2B5EF4-FFF2-40B4-BE49-F238E27FC236}">
                  <a16:creationId xmlns:a16="http://schemas.microsoft.com/office/drawing/2014/main" id="{22BBADB2-0C8E-4C20-A660-36214ADC1B92}"/>
                </a:ext>
              </a:extLst>
            </p:cNvPr>
            <p:cNvSpPr>
              <a:spLocks noEditPoints="1"/>
            </p:cNvSpPr>
            <p:nvPr/>
          </p:nvSpPr>
          <p:spPr bwMode="black">
            <a:xfrm>
              <a:off x="6499" y="2239"/>
              <a:ext cx="198" cy="198"/>
            </a:xfrm>
            <a:custGeom>
              <a:avLst/>
              <a:gdLst>
                <a:gd name="T0" fmla="*/ 100 w 198"/>
                <a:gd name="T1" fmla="*/ 198 h 198"/>
                <a:gd name="T2" fmla="*/ 61 w 198"/>
                <a:gd name="T3" fmla="*/ 190 h 198"/>
                <a:gd name="T4" fmla="*/ 28 w 198"/>
                <a:gd name="T5" fmla="*/ 170 h 198"/>
                <a:gd name="T6" fmla="*/ 9 w 198"/>
                <a:gd name="T7" fmla="*/ 137 h 198"/>
                <a:gd name="T8" fmla="*/ 0 w 198"/>
                <a:gd name="T9" fmla="*/ 100 h 198"/>
                <a:gd name="T10" fmla="*/ 2 w 198"/>
                <a:gd name="T11" fmla="*/ 79 h 198"/>
                <a:gd name="T12" fmla="*/ 17 w 198"/>
                <a:gd name="T13" fmla="*/ 44 h 198"/>
                <a:gd name="T14" fmla="*/ 44 w 198"/>
                <a:gd name="T15" fmla="*/ 18 h 198"/>
                <a:gd name="T16" fmla="*/ 78 w 198"/>
                <a:gd name="T17" fmla="*/ 3 h 198"/>
                <a:gd name="T18" fmla="*/ 100 w 198"/>
                <a:gd name="T19" fmla="*/ 0 h 198"/>
                <a:gd name="T20" fmla="*/ 137 w 198"/>
                <a:gd name="T21" fmla="*/ 9 h 198"/>
                <a:gd name="T22" fmla="*/ 170 w 198"/>
                <a:gd name="T23" fmla="*/ 29 h 198"/>
                <a:gd name="T24" fmla="*/ 192 w 198"/>
                <a:gd name="T25" fmla="*/ 61 h 198"/>
                <a:gd name="T26" fmla="*/ 198 w 198"/>
                <a:gd name="T27" fmla="*/ 100 h 198"/>
                <a:gd name="T28" fmla="*/ 196 w 198"/>
                <a:gd name="T29" fmla="*/ 120 h 198"/>
                <a:gd name="T30" fmla="*/ 181 w 198"/>
                <a:gd name="T31" fmla="*/ 155 h 198"/>
                <a:gd name="T32" fmla="*/ 155 w 198"/>
                <a:gd name="T33" fmla="*/ 181 h 198"/>
                <a:gd name="T34" fmla="*/ 120 w 198"/>
                <a:gd name="T35" fmla="*/ 196 h 198"/>
                <a:gd name="T36" fmla="*/ 100 w 198"/>
                <a:gd name="T37" fmla="*/ 198 h 198"/>
                <a:gd name="T38" fmla="*/ 100 w 198"/>
                <a:gd name="T39" fmla="*/ 198 h 198"/>
                <a:gd name="T40" fmla="*/ 100 w 198"/>
                <a:gd name="T41" fmla="*/ 20 h 198"/>
                <a:gd name="T42" fmla="*/ 67 w 198"/>
                <a:gd name="T43" fmla="*/ 26 h 198"/>
                <a:gd name="T44" fmla="*/ 44 w 198"/>
                <a:gd name="T45" fmla="*/ 44 h 198"/>
                <a:gd name="T46" fmla="*/ 26 w 198"/>
                <a:gd name="T47" fmla="*/ 68 h 198"/>
                <a:gd name="T48" fmla="*/ 20 w 198"/>
                <a:gd name="T49" fmla="*/ 100 h 198"/>
                <a:gd name="T50" fmla="*/ 22 w 198"/>
                <a:gd name="T51" fmla="*/ 116 h 198"/>
                <a:gd name="T52" fmla="*/ 33 w 198"/>
                <a:gd name="T53" fmla="*/ 144 h 198"/>
                <a:gd name="T54" fmla="*/ 54 w 198"/>
                <a:gd name="T55" fmla="*/ 166 h 198"/>
                <a:gd name="T56" fmla="*/ 83 w 198"/>
                <a:gd name="T57" fmla="*/ 176 h 198"/>
                <a:gd name="T58" fmla="*/ 100 w 198"/>
                <a:gd name="T59" fmla="*/ 179 h 198"/>
                <a:gd name="T60" fmla="*/ 131 w 198"/>
                <a:gd name="T61" fmla="*/ 172 h 198"/>
                <a:gd name="T62" fmla="*/ 155 w 198"/>
                <a:gd name="T63" fmla="*/ 155 h 198"/>
                <a:gd name="T64" fmla="*/ 172 w 198"/>
                <a:gd name="T65" fmla="*/ 131 h 198"/>
                <a:gd name="T66" fmla="*/ 178 w 198"/>
                <a:gd name="T67" fmla="*/ 100 h 198"/>
                <a:gd name="T68" fmla="*/ 176 w 198"/>
                <a:gd name="T69" fmla="*/ 83 h 198"/>
                <a:gd name="T70" fmla="*/ 165 w 198"/>
                <a:gd name="T71" fmla="*/ 55 h 198"/>
                <a:gd name="T72" fmla="*/ 144 w 198"/>
                <a:gd name="T73" fmla="*/ 33 h 198"/>
                <a:gd name="T74" fmla="*/ 115 w 198"/>
                <a:gd name="T75" fmla="*/ 22 h 198"/>
                <a:gd name="T76" fmla="*/ 100 w 198"/>
                <a:gd name="T77" fmla="*/ 20 h 198"/>
                <a:gd name="T78" fmla="*/ 100 w 198"/>
                <a:gd name="T79"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198">
                  <a:moveTo>
                    <a:pt x="100" y="198"/>
                  </a:moveTo>
                  <a:lnTo>
                    <a:pt x="100" y="198"/>
                  </a:lnTo>
                  <a:lnTo>
                    <a:pt x="78" y="196"/>
                  </a:lnTo>
                  <a:lnTo>
                    <a:pt x="61" y="190"/>
                  </a:lnTo>
                  <a:lnTo>
                    <a:pt x="44" y="181"/>
                  </a:lnTo>
                  <a:lnTo>
                    <a:pt x="28" y="170"/>
                  </a:lnTo>
                  <a:lnTo>
                    <a:pt x="17" y="155"/>
                  </a:lnTo>
                  <a:lnTo>
                    <a:pt x="9" y="137"/>
                  </a:lnTo>
                  <a:lnTo>
                    <a:pt x="2" y="120"/>
                  </a:lnTo>
                  <a:lnTo>
                    <a:pt x="0" y="100"/>
                  </a:lnTo>
                  <a:lnTo>
                    <a:pt x="0" y="100"/>
                  </a:lnTo>
                  <a:lnTo>
                    <a:pt x="2" y="79"/>
                  </a:lnTo>
                  <a:lnTo>
                    <a:pt x="9" y="61"/>
                  </a:lnTo>
                  <a:lnTo>
                    <a:pt x="17" y="44"/>
                  </a:lnTo>
                  <a:lnTo>
                    <a:pt x="28" y="29"/>
                  </a:lnTo>
                  <a:lnTo>
                    <a:pt x="44" y="18"/>
                  </a:lnTo>
                  <a:lnTo>
                    <a:pt x="61" y="9"/>
                  </a:lnTo>
                  <a:lnTo>
                    <a:pt x="78" y="3"/>
                  </a:lnTo>
                  <a:lnTo>
                    <a:pt x="100" y="0"/>
                  </a:lnTo>
                  <a:lnTo>
                    <a:pt x="100" y="0"/>
                  </a:lnTo>
                  <a:lnTo>
                    <a:pt x="120" y="3"/>
                  </a:lnTo>
                  <a:lnTo>
                    <a:pt x="137" y="9"/>
                  </a:lnTo>
                  <a:lnTo>
                    <a:pt x="155" y="18"/>
                  </a:lnTo>
                  <a:lnTo>
                    <a:pt x="170" y="29"/>
                  </a:lnTo>
                  <a:lnTo>
                    <a:pt x="181" y="44"/>
                  </a:lnTo>
                  <a:lnTo>
                    <a:pt x="192" y="61"/>
                  </a:lnTo>
                  <a:lnTo>
                    <a:pt x="196" y="79"/>
                  </a:lnTo>
                  <a:lnTo>
                    <a:pt x="198" y="100"/>
                  </a:lnTo>
                  <a:lnTo>
                    <a:pt x="198" y="100"/>
                  </a:lnTo>
                  <a:lnTo>
                    <a:pt x="196" y="120"/>
                  </a:lnTo>
                  <a:lnTo>
                    <a:pt x="192" y="137"/>
                  </a:lnTo>
                  <a:lnTo>
                    <a:pt x="181" y="155"/>
                  </a:lnTo>
                  <a:lnTo>
                    <a:pt x="170" y="170"/>
                  </a:lnTo>
                  <a:lnTo>
                    <a:pt x="155" y="181"/>
                  </a:lnTo>
                  <a:lnTo>
                    <a:pt x="137" y="190"/>
                  </a:lnTo>
                  <a:lnTo>
                    <a:pt x="120" y="196"/>
                  </a:lnTo>
                  <a:lnTo>
                    <a:pt x="100" y="198"/>
                  </a:lnTo>
                  <a:lnTo>
                    <a:pt x="100" y="198"/>
                  </a:lnTo>
                  <a:lnTo>
                    <a:pt x="100" y="198"/>
                  </a:lnTo>
                  <a:lnTo>
                    <a:pt x="100" y="198"/>
                  </a:lnTo>
                  <a:close/>
                  <a:moveTo>
                    <a:pt x="100" y="20"/>
                  </a:moveTo>
                  <a:lnTo>
                    <a:pt x="100" y="20"/>
                  </a:lnTo>
                  <a:lnTo>
                    <a:pt x="83" y="22"/>
                  </a:lnTo>
                  <a:lnTo>
                    <a:pt x="67" y="26"/>
                  </a:lnTo>
                  <a:lnTo>
                    <a:pt x="54" y="33"/>
                  </a:lnTo>
                  <a:lnTo>
                    <a:pt x="44" y="44"/>
                  </a:lnTo>
                  <a:lnTo>
                    <a:pt x="33" y="55"/>
                  </a:lnTo>
                  <a:lnTo>
                    <a:pt x="26" y="68"/>
                  </a:lnTo>
                  <a:lnTo>
                    <a:pt x="22" y="83"/>
                  </a:lnTo>
                  <a:lnTo>
                    <a:pt x="20" y="100"/>
                  </a:lnTo>
                  <a:lnTo>
                    <a:pt x="20" y="100"/>
                  </a:lnTo>
                  <a:lnTo>
                    <a:pt x="22" y="116"/>
                  </a:lnTo>
                  <a:lnTo>
                    <a:pt x="26" y="131"/>
                  </a:lnTo>
                  <a:lnTo>
                    <a:pt x="33" y="144"/>
                  </a:lnTo>
                  <a:lnTo>
                    <a:pt x="44" y="155"/>
                  </a:lnTo>
                  <a:lnTo>
                    <a:pt x="54" y="166"/>
                  </a:lnTo>
                  <a:lnTo>
                    <a:pt x="67" y="172"/>
                  </a:lnTo>
                  <a:lnTo>
                    <a:pt x="83" y="176"/>
                  </a:lnTo>
                  <a:lnTo>
                    <a:pt x="100" y="179"/>
                  </a:lnTo>
                  <a:lnTo>
                    <a:pt x="100" y="179"/>
                  </a:lnTo>
                  <a:lnTo>
                    <a:pt x="115" y="176"/>
                  </a:lnTo>
                  <a:lnTo>
                    <a:pt x="131" y="172"/>
                  </a:lnTo>
                  <a:lnTo>
                    <a:pt x="144" y="166"/>
                  </a:lnTo>
                  <a:lnTo>
                    <a:pt x="155" y="155"/>
                  </a:lnTo>
                  <a:lnTo>
                    <a:pt x="165" y="144"/>
                  </a:lnTo>
                  <a:lnTo>
                    <a:pt x="172" y="131"/>
                  </a:lnTo>
                  <a:lnTo>
                    <a:pt x="176" y="116"/>
                  </a:lnTo>
                  <a:lnTo>
                    <a:pt x="178" y="100"/>
                  </a:lnTo>
                  <a:lnTo>
                    <a:pt x="178" y="100"/>
                  </a:lnTo>
                  <a:lnTo>
                    <a:pt x="176" y="83"/>
                  </a:lnTo>
                  <a:lnTo>
                    <a:pt x="172" y="68"/>
                  </a:lnTo>
                  <a:lnTo>
                    <a:pt x="165" y="55"/>
                  </a:lnTo>
                  <a:lnTo>
                    <a:pt x="155" y="44"/>
                  </a:lnTo>
                  <a:lnTo>
                    <a:pt x="144" y="33"/>
                  </a:lnTo>
                  <a:lnTo>
                    <a:pt x="131" y="26"/>
                  </a:lnTo>
                  <a:lnTo>
                    <a:pt x="115" y="22"/>
                  </a:lnTo>
                  <a:lnTo>
                    <a:pt x="100" y="20"/>
                  </a:lnTo>
                  <a:lnTo>
                    <a:pt x="100" y="20"/>
                  </a:lnTo>
                  <a:lnTo>
                    <a:pt x="100" y="20"/>
                  </a:lnTo>
                  <a:lnTo>
                    <a:pt x="100" y="20"/>
                  </a:lnTo>
                  <a:close/>
                </a:path>
              </a:pathLst>
            </a:custGeom>
            <a:solidFill>
              <a:srgbClr val="1A9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EYInterstate Light" panose="02000506000000020004" pitchFamily="2" charset="0"/>
                <a:cs typeface="Arial" panose="020B0604020202020204" pitchFamily="34" charset="0"/>
                <a:sym typeface="EYInterstate Light" panose="02000506000000020004" pitchFamily="2" charset="0"/>
              </a:endParaRPr>
            </a:p>
          </p:txBody>
        </p:sp>
      </p:grpSp>
      <p:sp>
        <p:nvSpPr>
          <p:cNvPr id="69" name="Rectangle 68">
            <a:extLst>
              <a:ext uri="{FF2B5EF4-FFF2-40B4-BE49-F238E27FC236}">
                <a16:creationId xmlns:a16="http://schemas.microsoft.com/office/drawing/2014/main" id="{ACB7592D-B89E-4914-B7DA-57E2C215CE63}"/>
              </a:ext>
            </a:extLst>
          </p:cNvPr>
          <p:cNvSpPr/>
          <p:nvPr/>
        </p:nvSpPr>
        <p:spPr>
          <a:xfrm>
            <a:off x="1216746" y="1285713"/>
            <a:ext cx="9369768" cy="6953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t>Full suite of outline illustrations are available on the</a:t>
            </a:r>
            <a:br>
              <a:rPr lang="en-US" sz="14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rPr>
            </a:br>
            <a:r>
              <a:rPr lang="en-US" sz="14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hlinkClick r:id="rId7">
                  <a:extLst>
                    <a:ext uri="{A12FA001-AC4F-418D-AE19-62706E023703}">
                      <ahyp:hlinkClr xmlns:ahyp="http://schemas.microsoft.com/office/drawing/2018/hyperlinkcolor" val="tx"/>
                    </a:ext>
                  </a:extLst>
                </a:hlinkClick>
              </a:rPr>
              <a:t>EY Branding Zone</a:t>
            </a:r>
            <a:endParaRPr lang="en-US" sz="1400" dirty="0">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6" name="Rectangle 75">
            <a:extLst>
              <a:ext uri="{FF2B5EF4-FFF2-40B4-BE49-F238E27FC236}">
                <a16:creationId xmlns:a16="http://schemas.microsoft.com/office/drawing/2014/main" id="{851A3DA2-D286-4A12-A6BD-D68D36082901}"/>
              </a:ext>
            </a:extLst>
          </p:cNvPr>
          <p:cNvSpPr/>
          <p:nvPr/>
        </p:nvSpPr>
        <p:spPr>
          <a:xfrm>
            <a:off x="2633808" y="3927312"/>
            <a:ext cx="6552286" cy="977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latin typeface="EYInterstate Light" panose="02000506000000020004" pitchFamily="2" charset="0"/>
                <a:cs typeface="Arial" panose="020B0604020202020204" pitchFamily="34" charset="0"/>
                <a:sym typeface="EYInterstate Light" panose="02000506000000020004" pitchFamily="2" charset="0"/>
              </a:rPr>
              <a:t>Outline illustrations should only be used in process diagrams. They help to simplify complex processes into their constituent parts and show the links between them. To keep them simple, minimize embellishments and only use the primary color palette. Do not overuse the illustrations or use them as pictograms. Do not use them to replace focused data.</a:t>
            </a: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78" name="Group 77">
            <a:extLst>
              <a:ext uri="{FF2B5EF4-FFF2-40B4-BE49-F238E27FC236}">
                <a16:creationId xmlns:a16="http://schemas.microsoft.com/office/drawing/2014/main" id="{09F83DCA-F651-41D5-8176-D7466D74B1E0}"/>
              </a:ext>
            </a:extLst>
          </p:cNvPr>
          <p:cNvGrpSpPr>
            <a:grpSpLocks noChangeAspect="1"/>
          </p:cNvGrpSpPr>
          <p:nvPr/>
        </p:nvGrpSpPr>
        <p:grpSpPr>
          <a:xfrm>
            <a:off x="4667416" y="5276771"/>
            <a:ext cx="228244" cy="229655"/>
            <a:chOff x="7158762" y="1820660"/>
            <a:chExt cx="723008" cy="727479"/>
          </a:xfrm>
          <a:solidFill>
            <a:schemeClr val="accent5"/>
          </a:solidFill>
        </p:grpSpPr>
        <p:sp>
          <p:nvSpPr>
            <p:cNvPr id="79" name="Freeform 10">
              <a:extLst>
                <a:ext uri="{FF2B5EF4-FFF2-40B4-BE49-F238E27FC236}">
                  <a16:creationId xmlns:a16="http://schemas.microsoft.com/office/drawing/2014/main" id="{4BBE44A6-27A7-4402-8463-0F2C54A15A8E}"/>
                </a:ext>
              </a:extLst>
            </p:cNvPr>
            <p:cNvSpPr>
              <a:spLocks/>
            </p:cNvSpPr>
            <p:nvPr/>
          </p:nvSpPr>
          <p:spPr bwMode="auto">
            <a:xfrm>
              <a:off x="7365532" y="2029663"/>
              <a:ext cx="309469" cy="309472"/>
            </a:xfrm>
            <a:custGeom>
              <a:avLst/>
              <a:gdLst>
                <a:gd name="T0" fmla="*/ 74 w 86"/>
                <a:gd name="T1" fmla="*/ 86 h 86"/>
                <a:gd name="T2" fmla="*/ 0 w 86"/>
                <a:gd name="T3" fmla="*/ 12 h 86"/>
                <a:gd name="T4" fmla="*/ 12 w 86"/>
                <a:gd name="T5" fmla="*/ 0 h 86"/>
                <a:gd name="T6" fmla="*/ 86 w 86"/>
                <a:gd name="T7" fmla="*/ 74 h 86"/>
                <a:gd name="T8" fmla="*/ 74 w 86"/>
                <a:gd name="T9" fmla="*/ 86 h 86"/>
              </a:gdLst>
              <a:ahLst/>
              <a:cxnLst>
                <a:cxn ang="0">
                  <a:pos x="T0" y="T1"/>
                </a:cxn>
                <a:cxn ang="0">
                  <a:pos x="T2" y="T3"/>
                </a:cxn>
                <a:cxn ang="0">
                  <a:pos x="T4" y="T5"/>
                </a:cxn>
                <a:cxn ang="0">
                  <a:pos x="T6" y="T7"/>
                </a:cxn>
                <a:cxn ang="0">
                  <a:pos x="T8" y="T9"/>
                </a:cxn>
              </a:cxnLst>
              <a:rect l="0" t="0" r="r" b="b"/>
              <a:pathLst>
                <a:path w="86" h="86">
                  <a:moveTo>
                    <a:pt x="74" y="86"/>
                  </a:moveTo>
                  <a:lnTo>
                    <a:pt x="0" y="12"/>
                  </a:lnTo>
                  <a:lnTo>
                    <a:pt x="12" y="0"/>
                  </a:lnTo>
                  <a:lnTo>
                    <a:pt x="86" y="74"/>
                  </a:lnTo>
                  <a:lnTo>
                    <a:pt x="74" y="86"/>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nvGrpSpPr>
            <p:cNvPr id="80" name="Group 79">
              <a:extLst>
                <a:ext uri="{FF2B5EF4-FFF2-40B4-BE49-F238E27FC236}">
                  <a16:creationId xmlns:a16="http://schemas.microsoft.com/office/drawing/2014/main" id="{03962F86-F7E3-4401-86D7-FCE69A9A9D9F}"/>
                </a:ext>
              </a:extLst>
            </p:cNvPr>
            <p:cNvGrpSpPr/>
            <p:nvPr/>
          </p:nvGrpSpPr>
          <p:grpSpPr>
            <a:xfrm>
              <a:off x="7158762" y="1820660"/>
              <a:ext cx="723008" cy="727479"/>
              <a:chOff x="7179641" y="1820660"/>
              <a:chExt cx="723008" cy="727479"/>
            </a:xfrm>
            <a:grpFill/>
          </p:grpSpPr>
          <p:sp>
            <p:nvSpPr>
              <p:cNvPr id="81" name="Freeform 11">
                <a:extLst>
                  <a:ext uri="{FF2B5EF4-FFF2-40B4-BE49-F238E27FC236}">
                    <a16:creationId xmlns:a16="http://schemas.microsoft.com/office/drawing/2014/main" id="{675E8EF5-9C9A-4178-94B8-221D53C48A30}"/>
                  </a:ext>
                </a:extLst>
              </p:cNvPr>
              <p:cNvSpPr>
                <a:spLocks/>
              </p:cNvSpPr>
              <p:nvPr/>
            </p:nvSpPr>
            <p:spPr bwMode="auto">
              <a:xfrm>
                <a:off x="7386411" y="2029663"/>
                <a:ext cx="309469" cy="309472"/>
              </a:xfrm>
              <a:custGeom>
                <a:avLst/>
                <a:gdLst>
                  <a:gd name="T0" fmla="*/ 12 w 86"/>
                  <a:gd name="T1" fmla="*/ 86 h 86"/>
                  <a:gd name="T2" fmla="*/ 0 w 86"/>
                  <a:gd name="T3" fmla="*/ 74 h 86"/>
                  <a:gd name="T4" fmla="*/ 74 w 86"/>
                  <a:gd name="T5" fmla="*/ 0 h 86"/>
                  <a:gd name="T6" fmla="*/ 86 w 86"/>
                  <a:gd name="T7" fmla="*/ 12 h 86"/>
                  <a:gd name="T8" fmla="*/ 12 w 86"/>
                  <a:gd name="T9" fmla="*/ 86 h 86"/>
                </a:gdLst>
                <a:ahLst/>
                <a:cxnLst>
                  <a:cxn ang="0">
                    <a:pos x="T0" y="T1"/>
                  </a:cxn>
                  <a:cxn ang="0">
                    <a:pos x="T2" y="T3"/>
                  </a:cxn>
                  <a:cxn ang="0">
                    <a:pos x="T4" y="T5"/>
                  </a:cxn>
                  <a:cxn ang="0">
                    <a:pos x="T6" y="T7"/>
                  </a:cxn>
                  <a:cxn ang="0">
                    <a:pos x="T8" y="T9"/>
                  </a:cxn>
                </a:cxnLst>
                <a:rect l="0" t="0" r="r" b="b"/>
                <a:pathLst>
                  <a:path w="86" h="86">
                    <a:moveTo>
                      <a:pt x="12" y="86"/>
                    </a:moveTo>
                    <a:lnTo>
                      <a:pt x="0" y="74"/>
                    </a:lnTo>
                    <a:lnTo>
                      <a:pt x="74" y="0"/>
                    </a:lnTo>
                    <a:lnTo>
                      <a:pt x="86" y="12"/>
                    </a:lnTo>
                    <a:lnTo>
                      <a:pt x="12" y="86"/>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2" name="Freeform 97">
                <a:extLst>
                  <a:ext uri="{FF2B5EF4-FFF2-40B4-BE49-F238E27FC236}">
                    <a16:creationId xmlns:a16="http://schemas.microsoft.com/office/drawing/2014/main" id="{E841FA7A-6CC6-41A8-9A9C-A03D66EA9AD2}"/>
                  </a:ext>
                </a:extLst>
              </p:cNvPr>
              <p:cNvSpPr>
                <a:spLocks noEditPoints="1"/>
              </p:cNvSpPr>
              <p:nvPr/>
            </p:nvSpPr>
            <p:spPr bwMode="auto">
              <a:xfrm>
                <a:off x="7179641" y="1820660"/>
                <a:ext cx="723008" cy="727479"/>
              </a:xfrm>
              <a:custGeom>
                <a:avLst/>
                <a:gdLst>
                  <a:gd name="T0" fmla="*/ 146 w 324"/>
                  <a:gd name="T1" fmla="*/ 324 h 326"/>
                  <a:gd name="T2" fmla="*/ 98 w 324"/>
                  <a:gd name="T3" fmla="*/ 312 h 326"/>
                  <a:gd name="T4" fmla="*/ 58 w 324"/>
                  <a:gd name="T5" fmla="*/ 288 h 326"/>
                  <a:gd name="T6" fmla="*/ 28 w 324"/>
                  <a:gd name="T7" fmla="*/ 254 h 326"/>
                  <a:gd name="T8" fmla="*/ 6 w 324"/>
                  <a:gd name="T9" fmla="*/ 210 h 326"/>
                  <a:gd name="T10" fmla="*/ 0 w 324"/>
                  <a:gd name="T11" fmla="*/ 162 h 326"/>
                  <a:gd name="T12" fmla="*/ 2 w 324"/>
                  <a:gd name="T13" fmla="*/ 130 h 326"/>
                  <a:gd name="T14" fmla="*/ 20 w 324"/>
                  <a:gd name="T15" fmla="*/ 86 h 326"/>
                  <a:gd name="T16" fmla="*/ 48 w 324"/>
                  <a:gd name="T17" fmla="*/ 48 h 326"/>
                  <a:gd name="T18" fmla="*/ 84 w 324"/>
                  <a:gd name="T19" fmla="*/ 20 h 326"/>
                  <a:gd name="T20" fmla="*/ 130 w 324"/>
                  <a:gd name="T21" fmla="*/ 4 h 326"/>
                  <a:gd name="T22" fmla="*/ 162 w 324"/>
                  <a:gd name="T23" fmla="*/ 0 h 326"/>
                  <a:gd name="T24" fmla="*/ 210 w 324"/>
                  <a:gd name="T25" fmla="*/ 8 h 326"/>
                  <a:gd name="T26" fmla="*/ 252 w 324"/>
                  <a:gd name="T27" fmla="*/ 28 h 326"/>
                  <a:gd name="T28" fmla="*/ 288 w 324"/>
                  <a:gd name="T29" fmla="*/ 60 h 326"/>
                  <a:gd name="T30" fmla="*/ 312 w 324"/>
                  <a:gd name="T31" fmla="*/ 100 h 326"/>
                  <a:gd name="T32" fmla="*/ 324 w 324"/>
                  <a:gd name="T33" fmla="*/ 146 h 326"/>
                  <a:gd name="T34" fmla="*/ 324 w 324"/>
                  <a:gd name="T35" fmla="*/ 180 h 326"/>
                  <a:gd name="T36" fmla="*/ 312 w 324"/>
                  <a:gd name="T37" fmla="*/ 226 h 326"/>
                  <a:gd name="T38" fmla="*/ 288 w 324"/>
                  <a:gd name="T39" fmla="*/ 266 h 326"/>
                  <a:gd name="T40" fmla="*/ 252 w 324"/>
                  <a:gd name="T41" fmla="*/ 298 h 326"/>
                  <a:gd name="T42" fmla="*/ 210 w 324"/>
                  <a:gd name="T43" fmla="*/ 318 h 326"/>
                  <a:gd name="T44" fmla="*/ 162 w 324"/>
                  <a:gd name="T45" fmla="*/ 326 h 326"/>
                  <a:gd name="T46" fmla="*/ 162 w 324"/>
                  <a:gd name="T47" fmla="*/ 18 h 326"/>
                  <a:gd name="T48" fmla="*/ 120 w 324"/>
                  <a:gd name="T49" fmla="*/ 24 h 326"/>
                  <a:gd name="T50" fmla="*/ 82 w 324"/>
                  <a:gd name="T51" fmla="*/ 42 h 326"/>
                  <a:gd name="T52" fmla="*/ 50 w 324"/>
                  <a:gd name="T53" fmla="*/ 70 h 326"/>
                  <a:gd name="T54" fmla="*/ 28 w 324"/>
                  <a:gd name="T55" fmla="*/ 106 h 326"/>
                  <a:gd name="T56" fmla="*/ 18 w 324"/>
                  <a:gd name="T57" fmla="*/ 148 h 326"/>
                  <a:gd name="T58" fmla="*/ 18 w 324"/>
                  <a:gd name="T59" fmla="*/ 178 h 326"/>
                  <a:gd name="T60" fmla="*/ 28 w 324"/>
                  <a:gd name="T61" fmla="*/ 218 h 326"/>
                  <a:gd name="T62" fmla="*/ 50 w 324"/>
                  <a:gd name="T63" fmla="*/ 254 h 326"/>
                  <a:gd name="T64" fmla="*/ 82 w 324"/>
                  <a:gd name="T65" fmla="*/ 282 h 326"/>
                  <a:gd name="T66" fmla="*/ 120 w 324"/>
                  <a:gd name="T67" fmla="*/ 300 h 326"/>
                  <a:gd name="T68" fmla="*/ 162 w 324"/>
                  <a:gd name="T69" fmla="*/ 308 h 326"/>
                  <a:gd name="T70" fmla="*/ 192 w 324"/>
                  <a:gd name="T71" fmla="*/ 304 h 326"/>
                  <a:gd name="T72" fmla="*/ 230 w 324"/>
                  <a:gd name="T73" fmla="*/ 290 h 326"/>
                  <a:gd name="T74" fmla="*/ 264 w 324"/>
                  <a:gd name="T75" fmla="*/ 264 h 326"/>
                  <a:gd name="T76" fmla="*/ 290 w 324"/>
                  <a:gd name="T77" fmla="*/ 232 h 326"/>
                  <a:gd name="T78" fmla="*/ 304 w 324"/>
                  <a:gd name="T79" fmla="*/ 192 h 326"/>
                  <a:gd name="T80" fmla="*/ 306 w 324"/>
                  <a:gd name="T81" fmla="*/ 162 h 326"/>
                  <a:gd name="T82" fmla="*/ 300 w 324"/>
                  <a:gd name="T83" fmla="*/ 120 h 326"/>
                  <a:gd name="T84" fmla="*/ 282 w 324"/>
                  <a:gd name="T85" fmla="*/ 82 h 326"/>
                  <a:gd name="T86" fmla="*/ 254 w 324"/>
                  <a:gd name="T87" fmla="*/ 50 h 326"/>
                  <a:gd name="T88" fmla="*/ 218 w 324"/>
                  <a:gd name="T89" fmla="*/ 30 h 326"/>
                  <a:gd name="T90" fmla="*/ 176 w 324"/>
                  <a:gd name="T91" fmla="*/ 1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4" h="326">
                    <a:moveTo>
                      <a:pt x="162" y="326"/>
                    </a:moveTo>
                    <a:lnTo>
                      <a:pt x="162" y="326"/>
                    </a:lnTo>
                    <a:lnTo>
                      <a:pt x="146" y="324"/>
                    </a:lnTo>
                    <a:lnTo>
                      <a:pt x="130" y="322"/>
                    </a:lnTo>
                    <a:lnTo>
                      <a:pt x="114" y="318"/>
                    </a:lnTo>
                    <a:lnTo>
                      <a:pt x="98" y="312"/>
                    </a:lnTo>
                    <a:lnTo>
                      <a:pt x="84" y="306"/>
                    </a:lnTo>
                    <a:lnTo>
                      <a:pt x="72" y="298"/>
                    </a:lnTo>
                    <a:lnTo>
                      <a:pt x="58" y="288"/>
                    </a:lnTo>
                    <a:lnTo>
                      <a:pt x="48" y="278"/>
                    </a:lnTo>
                    <a:lnTo>
                      <a:pt x="36" y="266"/>
                    </a:lnTo>
                    <a:lnTo>
                      <a:pt x="28" y="254"/>
                    </a:lnTo>
                    <a:lnTo>
                      <a:pt x="20" y="240"/>
                    </a:lnTo>
                    <a:lnTo>
                      <a:pt x="12" y="226"/>
                    </a:lnTo>
                    <a:lnTo>
                      <a:pt x="6" y="210"/>
                    </a:lnTo>
                    <a:lnTo>
                      <a:pt x="2" y="196"/>
                    </a:lnTo>
                    <a:lnTo>
                      <a:pt x="0" y="180"/>
                    </a:lnTo>
                    <a:lnTo>
                      <a:pt x="0" y="162"/>
                    </a:lnTo>
                    <a:lnTo>
                      <a:pt x="0" y="162"/>
                    </a:lnTo>
                    <a:lnTo>
                      <a:pt x="0" y="146"/>
                    </a:lnTo>
                    <a:lnTo>
                      <a:pt x="2" y="130"/>
                    </a:lnTo>
                    <a:lnTo>
                      <a:pt x="6" y="114"/>
                    </a:lnTo>
                    <a:lnTo>
                      <a:pt x="12" y="100"/>
                    </a:lnTo>
                    <a:lnTo>
                      <a:pt x="20" y="86"/>
                    </a:lnTo>
                    <a:lnTo>
                      <a:pt x="28" y="72"/>
                    </a:lnTo>
                    <a:lnTo>
                      <a:pt x="36" y="60"/>
                    </a:lnTo>
                    <a:lnTo>
                      <a:pt x="48" y="48"/>
                    </a:lnTo>
                    <a:lnTo>
                      <a:pt x="58" y="38"/>
                    </a:lnTo>
                    <a:lnTo>
                      <a:pt x="72" y="28"/>
                    </a:lnTo>
                    <a:lnTo>
                      <a:pt x="84" y="20"/>
                    </a:lnTo>
                    <a:lnTo>
                      <a:pt x="98" y="12"/>
                    </a:lnTo>
                    <a:lnTo>
                      <a:pt x="114" y="8"/>
                    </a:lnTo>
                    <a:lnTo>
                      <a:pt x="130" y="4"/>
                    </a:lnTo>
                    <a:lnTo>
                      <a:pt x="146" y="0"/>
                    </a:lnTo>
                    <a:lnTo>
                      <a:pt x="162" y="0"/>
                    </a:lnTo>
                    <a:lnTo>
                      <a:pt x="162" y="0"/>
                    </a:lnTo>
                    <a:lnTo>
                      <a:pt x="178" y="0"/>
                    </a:lnTo>
                    <a:lnTo>
                      <a:pt x="194" y="4"/>
                    </a:lnTo>
                    <a:lnTo>
                      <a:pt x="210" y="8"/>
                    </a:lnTo>
                    <a:lnTo>
                      <a:pt x="226" y="12"/>
                    </a:lnTo>
                    <a:lnTo>
                      <a:pt x="240" y="20"/>
                    </a:lnTo>
                    <a:lnTo>
                      <a:pt x="252" y="28"/>
                    </a:lnTo>
                    <a:lnTo>
                      <a:pt x="266" y="38"/>
                    </a:lnTo>
                    <a:lnTo>
                      <a:pt x="276" y="48"/>
                    </a:lnTo>
                    <a:lnTo>
                      <a:pt x="288" y="60"/>
                    </a:lnTo>
                    <a:lnTo>
                      <a:pt x="296" y="72"/>
                    </a:lnTo>
                    <a:lnTo>
                      <a:pt x="304" y="86"/>
                    </a:lnTo>
                    <a:lnTo>
                      <a:pt x="312" y="100"/>
                    </a:lnTo>
                    <a:lnTo>
                      <a:pt x="318" y="114"/>
                    </a:lnTo>
                    <a:lnTo>
                      <a:pt x="322" y="130"/>
                    </a:lnTo>
                    <a:lnTo>
                      <a:pt x="324" y="146"/>
                    </a:lnTo>
                    <a:lnTo>
                      <a:pt x="324" y="162"/>
                    </a:lnTo>
                    <a:lnTo>
                      <a:pt x="324" y="162"/>
                    </a:lnTo>
                    <a:lnTo>
                      <a:pt x="324" y="180"/>
                    </a:lnTo>
                    <a:lnTo>
                      <a:pt x="322" y="196"/>
                    </a:lnTo>
                    <a:lnTo>
                      <a:pt x="318" y="210"/>
                    </a:lnTo>
                    <a:lnTo>
                      <a:pt x="312" y="226"/>
                    </a:lnTo>
                    <a:lnTo>
                      <a:pt x="304" y="240"/>
                    </a:lnTo>
                    <a:lnTo>
                      <a:pt x="296" y="254"/>
                    </a:lnTo>
                    <a:lnTo>
                      <a:pt x="288" y="266"/>
                    </a:lnTo>
                    <a:lnTo>
                      <a:pt x="276" y="278"/>
                    </a:lnTo>
                    <a:lnTo>
                      <a:pt x="266" y="288"/>
                    </a:lnTo>
                    <a:lnTo>
                      <a:pt x="252" y="298"/>
                    </a:lnTo>
                    <a:lnTo>
                      <a:pt x="240" y="306"/>
                    </a:lnTo>
                    <a:lnTo>
                      <a:pt x="226" y="312"/>
                    </a:lnTo>
                    <a:lnTo>
                      <a:pt x="210" y="318"/>
                    </a:lnTo>
                    <a:lnTo>
                      <a:pt x="194" y="322"/>
                    </a:lnTo>
                    <a:lnTo>
                      <a:pt x="178" y="324"/>
                    </a:lnTo>
                    <a:lnTo>
                      <a:pt x="162" y="326"/>
                    </a:lnTo>
                    <a:lnTo>
                      <a:pt x="162" y="326"/>
                    </a:lnTo>
                    <a:close/>
                    <a:moveTo>
                      <a:pt x="162" y="18"/>
                    </a:moveTo>
                    <a:lnTo>
                      <a:pt x="162" y="18"/>
                    </a:lnTo>
                    <a:lnTo>
                      <a:pt x="148" y="18"/>
                    </a:lnTo>
                    <a:lnTo>
                      <a:pt x="132" y="20"/>
                    </a:lnTo>
                    <a:lnTo>
                      <a:pt x="120" y="24"/>
                    </a:lnTo>
                    <a:lnTo>
                      <a:pt x="106" y="30"/>
                    </a:lnTo>
                    <a:lnTo>
                      <a:pt x="94" y="36"/>
                    </a:lnTo>
                    <a:lnTo>
                      <a:pt x="82" y="42"/>
                    </a:lnTo>
                    <a:lnTo>
                      <a:pt x="70" y="50"/>
                    </a:lnTo>
                    <a:lnTo>
                      <a:pt x="60" y="60"/>
                    </a:lnTo>
                    <a:lnTo>
                      <a:pt x="50" y="70"/>
                    </a:lnTo>
                    <a:lnTo>
                      <a:pt x="42" y="82"/>
                    </a:lnTo>
                    <a:lnTo>
                      <a:pt x="34" y="94"/>
                    </a:lnTo>
                    <a:lnTo>
                      <a:pt x="28" y="106"/>
                    </a:lnTo>
                    <a:lnTo>
                      <a:pt x="24" y="120"/>
                    </a:lnTo>
                    <a:lnTo>
                      <a:pt x="20" y="134"/>
                    </a:lnTo>
                    <a:lnTo>
                      <a:pt x="18" y="148"/>
                    </a:lnTo>
                    <a:lnTo>
                      <a:pt x="18" y="162"/>
                    </a:lnTo>
                    <a:lnTo>
                      <a:pt x="18" y="162"/>
                    </a:lnTo>
                    <a:lnTo>
                      <a:pt x="18" y="178"/>
                    </a:lnTo>
                    <a:lnTo>
                      <a:pt x="20" y="192"/>
                    </a:lnTo>
                    <a:lnTo>
                      <a:pt x="24" y="206"/>
                    </a:lnTo>
                    <a:lnTo>
                      <a:pt x="28" y="218"/>
                    </a:lnTo>
                    <a:lnTo>
                      <a:pt x="34" y="232"/>
                    </a:lnTo>
                    <a:lnTo>
                      <a:pt x="42" y="244"/>
                    </a:lnTo>
                    <a:lnTo>
                      <a:pt x="50" y="254"/>
                    </a:lnTo>
                    <a:lnTo>
                      <a:pt x="60" y="264"/>
                    </a:lnTo>
                    <a:lnTo>
                      <a:pt x="70" y="274"/>
                    </a:lnTo>
                    <a:lnTo>
                      <a:pt x="82" y="282"/>
                    </a:lnTo>
                    <a:lnTo>
                      <a:pt x="94" y="290"/>
                    </a:lnTo>
                    <a:lnTo>
                      <a:pt x="106" y="296"/>
                    </a:lnTo>
                    <a:lnTo>
                      <a:pt x="120" y="300"/>
                    </a:lnTo>
                    <a:lnTo>
                      <a:pt x="132" y="304"/>
                    </a:lnTo>
                    <a:lnTo>
                      <a:pt x="148" y="306"/>
                    </a:lnTo>
                    <a:lnTo>
                      <a:pt x="162" y="308"/>
                    </a:lnTo>
                    <a:lnTo>
                      <a:pt x="162" y="308"/>
                    </a:lnTo>
                    <a:lnTo>
                      <a:pt x="176" y="306"/>
                    </a:lnTo>
                    <a:lnTo>
                      <a:pt x="192" y="304"/>
                    </a:lnTo>
                    <a:lnTo>
                      <a:pt x="204" y="300"/>
                    </a:lnTo>
                    <a:lnTo>
                      <a:pt x="218" y="296"/>
                    </a:lnTo>
                    <a:lnTo>
                      <a:pt x="230" y="290"/>
                    </a:lnTo>
                    <a:lnTo>
                      <a:pt x="242" y="282"/>
                    </a:lnTo>
                    <a:lnTo>
                      <a:pt x="254" y="274"/>
                    </a:lnTo>
                    <a:lnTo>
                      <a:pt x="264" y="264"/>
                    </a:lnTo>
                    <a:lnTo>
                      <a:pt x="274" y="254"/>
                    </a:lnTo>
                    <a:lnTo>
                      <a:pt x="282" y="244"/>
                    </a:lnTo>
                    <a:lnTo>
                      <a:pt x="290" y="232"/>
                    </a:lnTo>
                    <a:lnTo>
                      <a:pt x="296" y="218"/>
                    </a:lnTo>
                    <a:lnTo>
                      <a:pt x="300" y="206"/>
                    </a:lnTo>
                    <a:lnTo>
                      <a:pt x="304" y="192"/>
                    </a:lnTo>
                    <a:lnTo>
                      <a:pt x="306" y="178"/>
                    </a:lnTo>
                    <a:lnTo>
                      <a:pt x="306" y="162"/>
                    </a:lnTo>
                    <a:lnTo>
                      <a:pt x="306" y="162"/>
                    </a:lnTo>
                    <a:lnTo>
                      <a:pt x="306" y="148"/>
                    </a:lnTo>
                    <a:lnTo>
                      <a:pt x="304" y="134"/>
                    </a:lnTo>
                    <a:lnTo>
                      <a:pt x="300" y="120"/>
                    </a:lnTo>
                    <a:lnTo>
                      <a:pt x="296" y="106"/>
                    </a:lnTo>
                    <a:lnTo>
                      <a:pt x="290" y="94"/>
                    </a:lnTo>
                    <a:lnTo>
                      <a:pt x="282" y="82"/>
                    </a:lnTo>
                    <a:lnTo>
                      <a:pt x="274" y="70"/>
                    </a:lnTo>
                    <a:lnTo>
                      <a:pt x="264" y="60"/>
                    </a:lnTo>
                    <a:lnTo>
                      <a:pt x="254" y="50"/>
                    </a:lnTo>
                    <a:lnTo>
                      <a:pt x="242" y="42"/>
                    </a:lnTo>
                    <a:lnTo>
                      <a:pt x="230" y="36"/>
                    </a:lnTo>
                    <a:lnTo>
                      <a:pt x="218" y="30"/>
                    </a:lnTo>
                    <a:lnTo>
                      <a:pt x="204" y="24"/>
                    </a:lnTo>
                    <a:lnTo>
                      <a:pt x="192" y="20"/>
                    </a:lnTo>
                    <a:lnTo>
                      <a:pt x="176" y="18"/>
                    </a:lnTo>
                    <a:lnTo>
                      <a:pt x="162" y="18"/>
                    </a:lnTo>
                    <a:lnTo>
                      <a:pt x="162" y="18"/>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grpSp>
      </p:grpSp>
      <p:sp>
        <p:nvSpPr>
          <p:cNvPr id="85" name="Freeform: Shape 84">
            <a:extLst>
              <a:ext uri="{FF2B5EF4-FFF2-40B4-BE49-F238E27FC236}">
                <a16:creationId xmlns:a16="http://schemas.microsoft.com/office/drawing/2014/main" id="{C5B49EED-A163-457F-B7A9-EF0AAF64C538}"/>
              </a:ext>
            </a:extLst>
          </p:cNvPr>
          <p:cNvSpPr/>
          <p:nvPr/>
        </p:nvSpPr>
        <p:spPr>
          <a:xfrm>
            <a:off x="5402261" y="5463335"/>
            <a:ext cx="633193" cy="457654"/>
          </a:xfrm>
          <a:custGeom>
            <a:avLst/>
            <a:gdLst>
              <a:gd name="connsiteX0" fmla="*/ 633444 w 633193"/>
              <a:gd name="connsiteY0" fmla="*/ 229329 h 457654"/>
              <a:gd name="connsiteX1" fmla="*/ 316722 w 633193"/>
              <a:gd name="connsiteY1" fmla="*/ 458657 h 457654"/>
              <a:gd name="connsiteX2" fmla="*/ 0 w 633193"/>
              <a:gd name="connsiteY2" fmla="*/ 229329 h 457654"/>
              <a:gd name="connsiteX3" fmla="*/ 316722 w 633193"/>
              <a:gd name="connsiteY3" fmla="*/ 0 h 457654"/>
              <a:gd name="connsiteX4" fmla="*/ 633444 w 633193"/>
              <a:gd name="connsiteY4" fmla="*/ 229329 h 457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193" h="457654">
                <a:moveTo>
                  <a:pt x="633444" y="229329"/>
                </a:moveTo>
                <a:cubicBezTo>
                  <a:pt x="633444" y="355983"/>
                  <a:pt x="491643" y="458657"/>
                  <a:pt x="316722" y="458657"/>
                </a:cubicBezTo>
                <a:cubicBezTo>
                  <a:pt x="141801" y="458657"/>
                  <a:pt x="0" y="355983"/>
                  <a:pt x="0" y="229329"/>
                </a:cubicBezTo>
                <a:cubicBezTo>
                  <a:pt x="0" y="102674"/>
                  <a:pt x="141801" y="0"/>
                  <a:pt x="316722" y="0"/>
                </a:cubicBezTo>
                <a:cubicBezTo>
                  <a:pt x="491643" y="0"/>
                  <a:pt x="633444" y="102674"/>
                  <a:pt x="633444" y="229329"/>
                </a:cubicBezTo>
                <a:close/>
              </a:path>
            </a:pathLst>
          </a:custGeom>
          <a:solidFill>
            <a:schemeClr val="accent1"/>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6" name="Freeform: Shape 85">
            <a:extLst>
              <a:ext uri="{FF2B5EF4-FFF2-40B4-BE49-F238E27FC236}">
                <a16:creationId xmlns:a16="http://schemas.microsoft.com/office/drawing/2014/main" id="{45E300A9-BF9B-4E2A-BDC9-0514CFB8B633}"/>
              </a:ext>
            </a:extLst>
          </p:cNvPr>
          <p:cNvSpPr/>
          <p:nvPr/>
        </p:nvSpPr>
        <p:spPr>
          <a:xfrm>
            <a:off x="5189168" y="5184542"/>
            <a:ext cx="739770" cy="595578"/>
          </a:xfrm>
          <a:custGeom>
            <a:avLst/>
            <a:gdLst>
              <a:gd name="connsiteX0" fmla="*/ 744535 w 739770"/>
              <a:gd name="connsiteY0" fmla="*/ 298228 h 595577"/>
              <a:gd name="connsiteX1" fmla="*/ 372267 w 739770"/>
              <a:gd name="connsiteY1" fmla="*/ 596455 h 595577"/>
              <a:gd name="connsiteX2" fmla="*/ 0 w 739770"/>
              <a:gd name="connsiteY2" fmla="*/ 298228 h 595577"/>
              <a:gd name="connsiteX3" fmla="*/ 372267 w 739770"/>
              <a:gd name="connsiteY3" fmla="*/ 0 h 595577"/>
              <a:gd name="connsiteX4" fmla="*/ 744535 w 739770"/>
              <a:gd name="connsiteY4" fmla="*/ 298228 h 595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770" h="595577">
                <a:moveTo>
                  <a:pt x="744535" y="298228"/>
                </a:moveTo>
                <a:cubicBezTo>
                  <a:pt x="744535" y="462934"/>
                  <a:pt x="577865" y="596455"/>
                  <a:pt x="372267" y="596455"/>
                </a:cubicBezTo>
                <a:cubicBezTo>
                  <a:pt x="166670" y="596455"/>
                  <a:pt x="0" y="462934"/>
                  <a:pt x="0" y="298228"/>
                </a:cubicBezTo>
                <a:cubicBezTo>
                  <a:pt x="0" y="133521"/>
                  <a:pt x="166670" y="0"/>
                  <a:pt x="372267" y="0"/>
                </a:cubicBezTo>
                <a:cubicBezTo>
                  <a:pt x="577865" y="0"/>
                  <a:pt x="744535" y="133521"/>
                  <a:pt x="744535" y="298228"/>
                </a:cubicBezTo>
                <a:close/>
              </a:path>
            </a:pathLst>
          </a:custGeom>
          <a:solidFill>
            <a:schemeClr val="accent1"/>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7" name="Freeform: Shape 86">
            <a:extLst>
              <a:ext uri="{FF2B5EF4-FFF2-40B4-BE49-F238E27FC236}">
                <a16:creationId xmlns:a16="http://schemas.microsoft.com/office/drawing/2014/main" id="{06DB4C5B-6055-45AB-82D1-4E15758A3513}"/>
              </a:ext>
            </a:extLst>
          </p:cNvPr>
          <p:cNvSpPr/>
          <p:nvPr/>
        </p:nvSpPr>
        <p:spPr>
          <a:xfrm>
            <a:off x="5170486" y="5177459"/>
            <a:ext cx="771116" cy="702155"/>
          </a:xfrm>
          <a:custGeom>
            <a:avLst/>
            <a:gdLst>
              <a:gd name="connsiteX0" fmla="*/ 132720 w 771116"/>
              <a:gd name="connsiteY0" fmla="*/ 707671 h 702154"/>
              <a:gd name="connsiteX1" fmla="*/ 132720 w 771116"/>
              <a:gd name="connsiteY1" fmla="*/ 707671 h 702154"/>
              <a:gd name="connsiteX2" fmla="*/ 130337 w 771116"/>
              <a:gd name="connsiteY2" fmla="*/ 707671 h 702154"/>
              <a:gd name="connsiteX3" fmla="*/ 130337 w 771116"/>
              <a:gd name="connsiteY3" fmla="*/ 707671 h 702154"/>
              <a:gd name="connsiteX4" fmla="*/ 125573 w 771116"/>
              <a:gd name="connsiteY4" fmla="*/ 702907 h 702154"/>
              <a:gd name="connsiteX5" fmla="*/ 123191 w 771116"/>
              <a:gd name="connsiteY5" fmla="*/ 698142 h 702154"/>
              <a:gd name="connsiteX6" fmla="*/ 127955 w 771116"/>
              <a:gd name="connsiteY6" fmla="*/ 536083 h 702154"/>
              <a:gd name="connsiteX7" fmla="*/ 127955 w 771116"/>
              <a:gd name="connsiteY7" fmla="*/ 536083 h 702154"/>
              <a:gd name="connsiteX8" fmla="*/ 99493 w 771116"/>
              <a:gd name="connsiteY8" fmla="*/ 514642 h 702154"/>
              <a:gd name="connsiteX9" fmla="*/ 73413 w 771116"/>
              <a:gd name="connsiteY9" fmla="*/ 488436 h 702154"/>
              <a:gd name="connsiteX10" fmla="*/ 52097 w 771116"/>
              <a:gd name="connsiteY10" fmla="*/ 462231 h 702154"/>
              <a:gd name="connsiteX11" fmla="*/ 33164 w 771116"/>
              <a:gd name="connsiteY11" fmla="*/ 433643 h 702154"/>
              <a:gd name="connsiteX12" fmla="*/ 18933 w 771116"/>
              <a:gd name="connsiteY12" fmla="*/ 405055 h 702154"/>
              <a:gd name="connsiteX13" fmla="*/ 9467 w 771116"/>
              <a:gd name="connsiteY13" fmla="*/ 374085 h 702154"/>
              <a:gd name="connsiteX14" fmla="*/ 2382 w 771116"/>
              <a:gd name="connsiteY14" fmla="*/ 340733 h 702154"/>
              <a:gd name="connsiteX15" fmla="*/ 0 w 771116"/>
              <a:gd name="connsiteY15" fmla="*/ 309763 h 702154"/>
              <a:gd name="connsiteX16" fmla="*/ 0 w 771116"/>
              <a:gd name="connsiteY16" fmla="*/ 309763 h 702154"/>
              <a:gd name="connsiteX17" fmla="*/ 2382 w 771116"/>
              <a:gd name="connsiteY17" fmla="*/ 278793 h 702154"/>
              <a:gd name="connsiteX18" fmla="*/ 9467 w 771116"/>
              <a:gd name="connsiteY18" fmla="*/ 247823 h 702154"/>
              <a:gd name="connsiteX19" fmla="*/ 18933 w 771116"/>
              <a:gd name="connsiteY19" fmla="*/ 216853 h 702154"/>
              <a:gd name="connsiteX20" fmla="*/ 30782 w 771116"/>
              <a:gd name="connsiteY20" fmla="*/ 188265 h 702154"/>
              <a:gd name="connsiteX21" fmla="*/ 47395 w 771116"/>
              <a:gd name="connsiteY21" fmla="*/ 162060 h 702154"/>
              <a:gd name="connsiteX22" fmla="*/ 66329 w 771116"/>
              <a:gd name="connsiteY22" fmla="*/ 135854 h 702154"/>
              <a:gd name="connsiteX23" fmla="*/ 90026 w 771116"/>
              <a:gd name="connsiteY23" fmla="*/ 114414 h 702154"/>
              <a:gd name="connsiteX24" fmla="*/ 113724 w 771116"/>
              <a:gd name="connsiteY24" fmla="*/ 90590 h 702154"/>
              <a:gd name="connsiteX25" fmla="*/ 142186 w 771116"/>
              <a:gd name="connsiteY25" fmla="*/ 71532 h 702154"/>
              <a:gd name="connsiteX26" fmla="*/ 172968 w 771116"/>
              <a:gd name="connsiteY26" fmla="*/ 54856 h 702154"/>
              <a:gd name="connsiteX27" fmla="*/ 203750 w 771116"/>
              <a:gd name="connsiteY27" fmla="*/ 38180 h 702154"/>
              <a:gd name="connsiteX28" fmla="*/ 236915 w 771116"/>
              <a:gd name="connsiteY28" fmla="*/ 26268 h 702154"/>
              <a:gd name="connsiteX29" fmla="*/ 272461 w 771116"/>
              <a:gd name="connsiteY29" fmla="*/ 14357 h 702154"/>
              <a:gd name="connsiteX30" fmla="*/ 310390 w 771116"/>
              <a:gd name="connsiteY30" fmla="*/ 7210 h 702154"/>
              <a:gd name="connsiteX31" fmla="*/ 348319 w 771116"/>
              <a:gd name="connsiteY31" fmla="*/ 2445 h 702154"/>
              <a:gd name="connsiteX32" fmla="*/ 388630 w 771116"/>
              <a:gd name="connsiteY32" fmla="*/ 0 h 702154"/>
              <a:gd name="connsiteX33" fmla="*/ 388630 w 771116"/>
              <a:gd name="connsiteY33" fmla="*/ 0 h 702154"/>
              <a:gd name="connsiteX34" fmla="*/ 428941 w 771116"/>
              <a:gd name="connsiteY34" fmla="*/ 2382 h 702154"/>
              <a:gd name="connsiteX35" fmla="*/ 466870 w 771116"/>
              <a:gd name="connsiteY35" fmla="*/ 7147 h 702154"/>
              <a:gd name="connsiteX36" fmla="*/ 502417 w 771116"/>
              <a:gd name="connsiteY36" fmla="*/ 14294 h 702154"/>
              <a:gd name="connsiteX37" fmla="*/ 537963 w 771116"/>
              <a:gd name="connsiteY37" fmla="*/ 26205 h 702154"/>
              <a:gd name="connsiteX38" fmla="*/ 573510 w 771116"/>
              <a:gd name="connsiteY38" fmla="*/ 38117 h 702154"/>
              <a:gd name="connsiteX39" fmla="*/ 604292 w 771116"/>
              <a:gd name="connsiteY39" fmla="*/ 54793 h 702154"/>
              <a:gd name="connsiteX40" fmla="*/ 635074 w 771116"/>
              <a:gd name="connsiteY40" fmla="*/ 71469 h 702154"/>
              <a:gd name="connsiteX41" fmla="*/ 661154 w 771116"/>
              <a:gd name="connsiteY41" fmla="*/ 90528 h 702154"/>
              <a:gd name="connsiteX42" fmla="*/ 687234 w 771116"/>
              <a:gd name="connsiteY42" fmla="*/ 114351 h 702154"/>
              <a:gd name="connsiteX43" fmla="*/ 708549 w 771116"/>
              <a:gd name="connsiteY43" fmla="*/ 135792 h 702154"/>
              <a:gd name="connsiteX44" fmla="*/ 729865 w 771116"/>
              <a:gd name="connsiteY44" fmla="*/ 161997 h 702154"/>
              <a:gd name="connsiteX45" fmla="*/ 744096 w 771116"/>
              <a:gd name="connsiteY45" fmla="*/ 188203 h 702154"/>
              <a:gd name="connsiteX46" fmla="*/ 758327 w 771116"/>
              <a:gd name="connsiteY46" fmla="*/ 216790 h 702154"/>
              <a:gd name="connsiteX47" fmla="*/ 767794 w 771116"/>
              <a:gd name="connsiteY47" fmla="*/ 247760 h 702154"/>
              <a:gd name="connsiteX48" fmla="*/ 774878 w 771116"/>
              <a:gd name="connsiteY48" fmla="*/ 278730 h 702154"/>
              <a:gd name="connsiteX49" fmla="*/ 774878 w 771116"/>
              <a:gd name="connsiteY49" fmla="*/ 309700 h 702154"/>
              <a:gd name="connsiteX50" fmla="*/ 774878 w 771116"/>
              <a:gd name="connsiteY50" fmla="*/ 309700 h 702154"/>
              <a:gd name="connsiteX51" fmla="*/ 774878 w 771116"/>
              <a:gd name="connsiteY51" fmla="*/ 340670 h 702154"/>
              <a:gd name="connsiteX52" fmla="*/ 767794 w 771116"/>
              <a:gd name="connsiteY52" fmla="*/ 371640 h 702154"/>
              <a:gd name="connsiteX53" fmla="*/ 758327 w 771116"/>
              <a:gd name="connsiteY53" fmla="*/ 400228 h 702154"/>
              <a:gd name="connsiteX54" fmla="*/ 744096 w 771116"/>
              <a:gd name="connsiteY54" fmla="*/ 428816 h 702154"/>
              <a:gd name="connsiteX55" fmla="*/ 729865 w 771116"/>
              <a:gd name="connsiteY55" fmla="*/ 455021 h 702154"/>
              <a:gd name="connsiteX56" fmla="*/ 708549 w 771116"/>
              <a:gd name="connsiteY56" fmla="*/ 481227 h 702154"/>
              <a:gd name="connsiteX57" fmla="*/ 687234 w 771116"/>
              <a:gd name="connsiteY57" fmla="*/ 505050 h 702154"/>
              <a:gd name="connsiteX58" fmla="*/ 661154 w 771116"/>
              <a:gd name="connsiteY58" fmla="*/ 526616 h 702154"/>
              <a:gd name="connsiteX59" fmla="*/ 635074 w 771116"/>
              <a:gd name="connsiteY59" fmla="*/ 545674 h 702154"/>
              <a:gd name="connsiteX60" fmla="*/ 604292 w 771116"/>
              <a:gd name="connsiteY60" fmla="*/ 564733 h 702154"/>
              <a:gd name="connsiteX61" fmla="*/ 573510 w 771116"/>
              <a:gd name="connsiteY61" fmla="*/ 579027 h 702154"/>
              <a:gd name="connsiteX62" fmla="*/ 537963 w 771116"/>
              <a:gd name="connsiteY62" fmla="*/ 593321 h 702154"/>
              <a:gd name="connsiteX63" fmla="*/ 502417 w 771116"/>
              <a:gd name="connsiteY63" fmla="*/ 602850 h 702154"/>
              <a:gd name="connsiteX64" fmla="*/ 466870 w 771116"/>
              <a:gd name="connsiteY64" fmla="*/ 609997 h 702154"/>
              <a:gd name="connsiteX65" fmla="*/ 428941 w 771116"/>
              <a:gd name="connsiteY65" fmla="*/ 614761 h 702154"/>
              <a:gd name="connsiteX66" fmla="*/ 388630 w 771116"/>
              <a:gd name="connsiteY66" fmla="*/ 617144 h 702154"/>
              <a:gd name="connsiteX67" fmla="*/ 388630 w 771116"/>
              <a:gd name="connsiteY67" fmla="*/ 617144 h 702154"/>
              <a:gd name="connsiteX68" fmla="*/ 353084 w 771116"/>
              <a:gd name="connsiteY68" fmla="*/ 614761 h 702154"/>
              <a:gd name="connsiteX69" fmla="*/ 317537 w 771116"/>
              <a:gd name="connsiteY69" fmla="*/ 612379 h 702154"/>
              <a:gd name="connsiteX70" fmla="*/ 281990 w 771116"/>
              <a:gd name="connsiteY70" fmla="*/ 605232 h 702154"/>
              <a:gd name="connsiteX71" fmla="*/ 246444 w 771116"/>
              <a:gd name="connsiteY71" fmla="*/ 595703 h 702154"/>
              <a:gd name="connsiteX72" fmla="*/ 142186 w 771116"/>
              <a:gd name="connsiteY72" fmla="*/ 705289 h 702154"/>
              <a:gd name="connsiteX73" fmla="*/ 142186 w 771116"/>
              <a:gd name="connsiteY73" fmla="*/ 705289 h 702154"/>
              <a:gd name="connsiteX74" fmla="*/ 137422 w 771116"/>
              <a:gd name="connsiteY74" fmla="*/ 707671 h 702154"/>
              <a:gd name="connsiteX75" fmla="*/ 132720 w 771116"/>
              <a:gd name="connsiteY75" fmla="*/ 707671 h 702154"/>
              <a:gd name="connsiteX76" fmla="*/ 132720 w 771116"/>
              <a:gd name="connsiteY76" fmla="*/ 707671 h 702154"/>
              <a:gd name="connsiteX77" fmla="*/ 132720 w 771116"/>
              <a:gd name="connsiteY77" fmla="*/ 707671 h 702154"/>
              <a:gd name="connsiteX78" fmla="*/ 132720 w 771116"/>
              <a:gd name="connsiteY78" fmla="*/ 707671 h 702154"/>
              <a:gd name="connsiteX79" fmla="*/ 388630 w 771116"/>
              <a:gd name="connsiteY79" fmla="*/ 21441 h 702154"/>
              <a:gd name="connsiteX80" fmla="*/ 388630 w 771116"/>
              <a:gd name="connsiteY80" fmla="*/ 21441 h 702154"/>
              <a:gd name="connsiteX81" fmla="*/ 350701 w 771116"/>
              <a:gd name="connsiteY81" fmla="*/ 23823 h 702154"/>
              <a:gd name="connsiteX82" fmla="*/ 315155 w 771116"/>
              <a:gd name="connsiteY82" fmla="*/ 28588 h 702154"/>
              <a:gd name="connsiteX83" fmla="*/ 279608 w 771116"/>
              <a:gd name="connsiteY83" fmla="*/ 35735 h 702154"/>
              <a:gd name="connsiteX84" fmla="*/ 246444 w 771116"/>
              <a:gd name="connsiteY84" fmla="*/ 45264 h 702154"/>
              <a:gd name="connsiteX85" fmla="*/ 213280 w 771116"/>
              <a:gd name="connsiteY85" fmla="*/ 57175 h 702154"/>
              <a:gd name="connsiteX86" fmla="*/ 184817 w 771116"/>
              <a:gd name="connsiteY86" fmla="*/ 71469 h 702154"/>
              <a:gd name="connsiteX87" fmla="*/ 156355 w 771116"/>
              <a:gd name="connsiteY87" fmla="*/ 88145 h 702154"/>
              <a:gd name="connsiteX88" fmla="*/ 130275 w 771116"/>
              <a:gd name="connsiteY88" fmla="*/ 107204 h 702154"/>
              <a:gd name="connsiteX89" fmla="*/ 106577 w 771116"/>
              <a:gd name="connsiteY89" fmla="*/ 126262 h 702154"/>
              <a:gd name="connsiteX90" fmla="*/ 85262 w 771116"/>
              <a:gd name="connsiteY90" fmla="*/ 150086 h 702154"/>
              <a:gd name="connsiteX91" fmla="*/ 66329 w 771116"/>
              <a:gd name="connsiteY91" fmla="*/ 171526 h 702154"/>
              <a:gd name="connsiteX92" fmla="*/ 52097 w 771116"/>
              <a:gd name="connsiteY92" fmla="*/ 197732 h 702154"/>
              <a:gd name="connsiteX93" fmla="*/ 37866 w 771116"/>
              <a:gd name="connsiteY93" fmla="*/ 223937 h 702154"/>
              <a:gd name="connsiteX94" fmla="*/ 28400 w 771116"/>
              <a:gd name="connsiteY94" fmla="*/ 252525 h 702154"/>
              <a:gd name="connsiteX95" fmla="*/ 23635 w 771116"/>
              <a:gd name="connsiteY95" fmla="*/ 278730 h 702154"/>
              <a:gd name="connsiteX96" fmla="*/ 21315 w 771116"/>
              <a:gd name="connsiteY96" fmla="*/ 309763 h 702154"/>
              <a:gd name="connsiteX97" fmla="*/ 21315 w 771116"/>
              <a:gd name="connsiteY97" fmla="*/ 309763 h 702154"/>
              <a:gd name="connsiteX98" fmla="*/ 23698 w 771116"/>
              <a:gd name="connsiteY98" fmla="*/ 338351 h 702154"/>
              <a:gd name="connsiteX99" fmla="*/ 30782 w 771116"/>
              <a:gd name="connsiteY99" fmla="*/ 369321 h 702154"/>
              <a:gd name="connsiteX100" fmla="*/ 40249 w 771116"/>
              <a:gd name="connsiteY100" fmla="*/ 397908 h 702154"/>
              <a:gd name="connsiteX101" fmla="*/ 54480 w 771116"/>
              <a:gd name="connsiteY101" fmla="*/ 426496 h 702154"/>
              <a:gd name="connsiteX102" fmla="*/ 71093 w 771116"/>
              <a:gd name="connsiteY102" fmla="*/ 452702 h 702154"/>
              <a:gd name="connsiteX103" fmla="*/ 92409 w 771116"/>
              <a:gd name="connsiteY103" fmla="*/ 478907 h 702154"/>
              <a:gd name="connsiteX104" fmla="*/ 118489 w 771116"/>
              <a:gd name="connsiteY104" fmla="*/ 500348 h 702154"/>
              <a:gd name="connsiteX105" fmla="*/ 144569 w 771116"/>
              <a:gd name="connsiteY105" fmla="*/ 521789 h 702154"/>
              <a:gd name="connsiteX106" fmla="*/ 144569 w 771116"/>
              <a:gd name="connsiteY106" fmla="*/ 521789 h 702154"/>
              <a:gd name="connsiteX107" fmla="*/ 149271 w 771116"/>
              <a:gd name="connsiteY107" fmla="*/ 526616 h 702154"/>
              <a:gd name="connsiteX108" fmla="*/ 149271 w 771116"/>
              <a:gd name="connsiteY108" fmla="*/ 531381 h 702154"/>
              <a:gd name="connsiteX109" fmla="*/ 144506 w 771116"/>
              <a:gd name="connsiteY109" fmla="*/ 669555 h 702154"/>
              <a:gd name="connsiteX110" fmla="*/ 236977 w 771116"/>
              <a:gd name="connsiteY110" fmla="*/ 576644 h 702154"/>
              <a:gd name="connsiteX111" fmla="*/ 236977 w 771116"/>
              <a:gd name="connsiteY111" fmla="*/ 576644 h 702154"/>
              <a:gd name="connsiteX112" fmla="*/ 241742 w 771116"/>
              <a:gd name="connsiteY112" fmla="*/ 574262 h 702154"/>
              <a:gd name="connsiteX113" fmla="*/ 246506 w 771116"/>
              <a:gd name="connsiteY113" fmla="*/ 574262 h 702154"/>
              <a:gd name="connsiteX114" fmla="*/ 246506 w 771116"/>
              <a:gd name="connsiteY114" fmla="*/ 574262 h 702154"/>
              <a:gd name="connsiteX115" fmla="*/ 282053 w 771116"/>
              <a:gd name="connsiteY115" fmla="*/ 583791 h 702154"/>
              <a:gd name="connsiteX116" fmla="*/ 317600 w 771116"/>
              <a:gd name="connsiteY116" fmla="*/ 590938 h 702154"/>
              <a:gd name="connsiteX117" fmla="*/ 353146 w 771116"/>
              <a:gd name="connsiteY117" fmla="*/ 593321 h 702154"/>
              <a:gd name="connsiteX118" fmla="*/ 388693 w 771116"/>
              <a:gd name="connsiteY118" fmla="*/ 595703 h 702154"/>
              <a:gd name="connsiteX119" fmla="*/ 388693 w 771116"/>
              <a:gd name="connsiteY119" fmla="*/ 595703 h 702154"/>
              <a:gd name="connsiteX120" fmla="*/ 426622 w 771116"/>
              <a:gd name="connsiteY120" fmla="*/ 593321 h 702154"/>
              <a:gd name="connsiteX121" fmla="*/ 462168 w 771116"/>
              <a:gd name="connsiteY121" fmla="*/ 590938 h 702154"/>
              <a:gd name="connsiteX122" fmla="*/ 497715 w 771116"/>
              <a:gd name="connsiteY122" fmla="*/ 583791 h 702154"/>
              <a:gd name="connsiteX123" fmla="*/ 530879 w 771116"/>
              <a:gd name="connsiteY123" fmla="*/ 574262 h 702154"/>
              <a:gd name="connsiteX124" fmla="*/ 561661 w 771116"/>
              <a:gd name="connsiteY124" fmla="*/ 559968 h 702154"/>
              <a:gd name="connsiteX125" fmla="*/ 592443 w 771116"/>
              <a:gd name="connsiteY125" fmla="*/ 545674 h 702154"/>
              <a:gd name="connsiteX126" fmla="*/ 620905 w 771116"/>
              <a:gd name="connsiteY126" fmla="*/ 531381 h 702154"/>
              <a:gd name="connsiteX127" fmla="*/ 646985 w 771116"/>
              <a:gd name="connsiteY127" fmla="*/ 512322 h 702154"/>
              <a:gd name="connsiteX128" fmla="*/ 670683 w 771116"/>
              <a:gd name="connsiteY128" fmla="*/ 490881 h 702154"/>
              <a:gd name="connsiteX129" fmla="*/ 691999 w 771116"/>
              <a:gd name="connsiteY129" fmla="*/ 469440 h 702154"/>
              <a:gd name="connsiteX130" fmla="*/ 710932 w 771116"/>
              <a:gd name="connsiteY130" fmla="*/ 445617 h 702154"/>
              <a:gd name="connsiteX131" fmla="*/ 725163 w 771116"/>
              <a:gd name="connsiteY131" fmla="*/ 421794 h 702154"/>
              <a:gd name="connsiteX132" fmla="*/ 737012 w 771116"/>
              <a:gd name="connsiteY132" fmla="*/ 393207 h 702154"/>
              <a:gd name="connsiteX133" fmla="*/ 746478 w 771116"/>
              <a:gd name="connsiteY133" fmla="*/ 367001 h 702154"/>
              <a:gd name="connsiteX134" fmla="*/ 753563 w 771116"/>
              <a:gd name="connsiteY134" fmla="*/ 338413 h 702154"/>
              <a:gd name="connsiteX135" fmla="*/ 753563 w 771116"/>
              <a:gd name="connsiteY135" fmla="*/ 309826 h 702154"/>
              <a:gd name="connsiteX136" fmla="*/ 753563 w 771116"/>
              <a:gd name="connsiteY136" fmla="*/ 309826 h 702154"/>
              <a:gd name="connsiteX137" fmla="*/ 753563 w 771116"/>
              <a:gd name="connsiteY137" fmla="*/ 278856 h 702154"/>
              <a:gd name="connsiteX138" fmla="*/ 746478 w 771116"/>
              <a:gd name="connsiteY138" fmla="*/ 252650 h 702154"/>
              <a:gd name="connsiteX139" fmla="*/ 737012 w 771116"/>
              <a:gd name="connsiteY139" fmla="*/ 224063 h 702154"/>
              <a:gd name="connsiteX140" fmla="*/ 725163 w 771116"/>
              <a:gd name="connsiteY140" fmla="*/ 197857 h 702154"/>
              <a:gd name="connsiteX141" fmla="*/ 710932 w 771116"/>
              <a:gd name="connsiteY141" fmla="*/ 171652 h 702154"/>
              <a:gd name="connsiteX142" fmla="*/ 691999 w 771116"/>
              <a:gd name="connsiteY142" fmla="*/ 150211 h 702154"/>
              <a:gd name="connsiteX143" fmla="*/ 670683 w 771116"/>
              <a:gd name="connsiteY143" fmla="*/ 126388 h 702154"/>
              <a:gd name="connsiteX144" fmla="*/ 646985 w 771116"/>
              <a:gd name="connsiteY144" fmla="*/ 107329 h 702154"/>
              <a:gd name="connsiteX145" fmla="*/ 620905 w 771116"/>
              <a:gd name="connsiteY145" fmla="*/ 88271 h 702154"/>
              <a:gd name="connsiteX146" fmla="*/ 592443 w 771116"/>
              <a:gd name="connsiteY146" fmla="*/ 71469 h 702154"/>
              <a:gd name="connsiteX147" fmla="*/ 561661 w 771116"/>
              <a:gd name="connsiteY147" fmla="*/ 57175 h 702154"/>
              <a:gd name="connsiteX148" fmla="*/ 530879 w 771116"/>
              <a:gd name="connsiteY148" fmla="*/ 45264 h 702154"/>
              <a:gd name="connsiteX149" fmla="*/ 497652 w 771116"/>
              <a:gd name="connsiteY149" fmla="*/ 35735 h 702154"/>
              <a:gd name="connsiteX150" fmla="*/ 462106 w 771116"/>
              <a:gd name="connsiteY150" fmla="*/ 28588 h 702154"/>
              <a:gd name="connsiteX151" fmla="*/ 426559 w 771116"/>
              <a:gd name="connsiteY151" fmla="*/ 23823 h 702154"/>
              <a:gd name="connsiteX152" fmla="*/ 388630 w 771116"/>
              <a:gd name="connsiteY152" fmla="*/ 21441 h 702154"/>
              <a:gd name="connsiteX153" fmla="*/ 388630 w 771116"/>
              <a:gd name="connsiteY153" fmla="*/ 21441 h 702154"/>
              <a:gd name="connsiteX154" fmla="*/ 388630 w 771116"/>
              <a:gd name="connsiteY154" fmla="*/ 21441 h 702154"/>
              <a:gd name="connsiteX155" fmla="*/ 388630 w 771116"/>
              <a:gd name="connsiteY155" fmla="*/ 21441 h 70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771116" h="702154">
                <a:moveTo>
                  <a:pt x="132720" y="707671"/>
                </a:moveTo>
                <a:lnTo>
                  <a:pt x="132720" y="707671"/>
                </a:lnTo>
                <a:lnTo>
                  <a:pt x="130337" y="707671"/>
                </a:lnTo>
                <a:lnTo>
                  <a:pt x="130337" y="707671"/>
                </a:lnTo>
                <a:lnTo>
                  <a:pt x="125573" y="702907"/>
                </a:lnTo>
                <a:lnTo>
                  <a:pt x="123191" y="698142"/>
                </a:lnTo>
                <a:lnTo>
                  <a:pt x="127955" y="536083"/>
                </a:lnTo>
                <a:lnTo>
                  <a:pt x="127955" y="536083"/>
                </a:lnTo>
                <a:lnTo>
                  <a:pt x="99493" y="514642"/>
                </a:lnTo>
                <a:lnTo>
                  <a:pt x="73413" y="488436"/>
                </a:lnTo>
                <a:lnTo>
                  <a:pt x="52097" y="462231"/>
                </a:lnTo>
                <a:lnTo>
                  <a:pt x="33164" y="433643"/>
                </a:lnTo>
                <a:lnTo>
                  <a:pt x="18933" y="405055"/>
                </a:lnTo>
                <a:lnTo>
                  <a:pt x="9467" y="374085"/>
                </a:lnTo>
                <a:lnTo>
                  <a:pt x="2382" y="340733"/>
                </a:lnTo>
                <a:lnTo>
                  <a:pt x="0" y="309763"/>
                </a:lnTo>
                <a:lnTo>
                  <a:pt x="0" y="309763"/>
                </a:lnTo>
                <a:lnTo>
                  <a:pt x="2382" y="278793"/>
                </a:lnTo>
                <a:lnTo>
                  <a:pt x="9467" y="247823"/>
                </a:lnTo>
                <a:lnTo>
                  <a:pt x="18933" y="216853"/>
                </a:lnTo>
                <a:lnTo>
                  <a:pt x="30782" y="188265"/>
                </a:lnTo>
                <a:lnTo>
                  <a:pt x="47395" y="162060"/>
                </a:lnTo>
                <a:lnTo>
                  <a:pt x="66329" y="135854"/>
                </a:lnTo>
                <a:lnTo>
                  <a:pt x="90026" y="114414"/>
                </a:lnTo>
                <a:lnTo>
                  <a:pt x="113724" y="90590"/>
                </a:lnTo>
                <a:lnTo>
                  <a:pt x="142186" y="71532"/>
                </a:lnTo>
                <a:lnTo>
                  <a:pt x="172968" y="54856"/>
                </a:lnTo>
                <a:lnTo>
                  <a:pt x="203750" y="38180"/>
                </a:lnTo>
                <a:lnTo>
                  <a:pt x="236915" y="26268"/>
                </a:lnTo>
                <a:lnTo>
                  <a:pt x="272461" y="14357"/>
                </a:lnTo>
                <a:lnTo>
                  <a:pt x="310390" y="7210"/>
                </a:lnTo>
                <a:lnTo>
                  <a:pt x="348319" y="2445"/>
                </a:lnTo>
                <a:lnTo>
                  <a:pt x="388630" y="0"/>
                </a:lnTo>
                <a:lnTo>
                  <a:pt x="388630" y="0"/>
                </a:lnTo>
                <a:lnTo>
                  <a:pt x="428941" y="2382"/>
                </a:lnTo>
                <a:lnTo>
                  <a:pt x="466870" y="7147"/>
                </a:lnTo>
                <a:lnTo>
                  <a:pt x="502417" y="14294"/>
                </a:lnTo>
                <a:lnTo>
                  <a:pt x="537963" y="26205"/>
                </a:lnTo>
                <a:lnTo>
                  <a:pt x="573510" y="38117"/>
                </a:lnTo>
                <a:lnTo>
                  <a:pt x="604292" y="54793"/>
                </a:lnTo>
                <a:lnTo>
                  <a:pt x="635074" y="71469"/>
                </a:lnTo>
                <a:lnTo>
                  <a:pt x="661154" y="90528"/>
                </a:lnTo>
                <a:lnTo>
                  <a:pt x="687234" y="114351"/>
                </a:lnTo>
                <a:lnTo>
                  <a:pt x="708549" y="135792"/>
                </a:lnTo>
                <a:lnTo>
                  <a:pt x="729865" y="161997"/>
                </a:lnTo>
                <a:lnTo>
                  <a:pt x="744096" y="188203"/>
                </a:lnTo>
                <a:lnTo>
                  <a:pt x="758327" y="216790"/>
                </a:lnTo>
                <a:lnTo>
                  <a:pt x="767794" y="247760"/>
                </a:lnTo>
                <a:lnTo>
                  <a:pt x="774878" y="278730"/>
                </a:lnTo>
                <a:lnTo>
                  <a:pt x="774878" y="309700"/>
                </a:lnTo>
                <a:lnTo>
                  <a:pt x="774878" y="309700"/>
                </a:lnTo>
                <a:lnTo>
                  <a:pt x="774878" y="340670"/>
                </a:lnTo>
                <a:lnTo>
                  <a:pt x="767794" y="371640"/>
                </a:lnTo>
                <a:lnTo>
                  <a:pt x="758327" y="400228"/>
                </a:lnTo>
                <a:lnTo>
                  <a:pt x="744096" y="428816"/>
                </a:lnTo>
                <a:lnTo>
                  <a:pt x="729865" y="455021"/>
                </a:lnTo>
                <a:lnTo>
                  <a:pt x="708549" y="481227"/>
                </a:lnTo>
                <a:lnTo>
                  <a:pt x="687234" y="505050"/>
                </a:lnTo>
                <a:lnTo>
                  <a:pt x="661154" y="526616"/>
                </a:lnTo>
                <a:lnTo>
                  <a:pt x="635074" y="545674"/>
                </a:lnTo>
                <a:lnTo>
                  <a:pt x="604292" y="564733"/>
                </a:lnTo>
                <a:lnTo>
                  <a:pt x="573510" y="579027"/>
                </a:lnTo>
                <a:lnTo>
                  <a:pt x="537963" y="593321"/>
                </a:lnTo>
                <a:lnTo>
                  <a:pt x="502417" y="602850"/>
                </a:lnTo>
                <a:lnTo>
                  <a:pt x="466870" y="609997"/>
                </a:lnTo>
                <a:lnTo>
                  <a:pt x="428941" y="614761"/>
                </a:lnTo>
                <a:lnTo>
                  <a:pt x="388630" y="617144"/>
                </a:lnTo>
                <a:lnTo>
                  <a:pt x="388630" y="617144"/>
                </a:lnTo>
                <a:lnTo>
                  <a:pt x="353084" y="614761"/>
                </a:lnTo>
                <a:lnTo>
                  <a:pt x="317537" y="612379"/>
                </a:lnTo>
                <a:lnTo>
                  <a:pt x="281990" y="605232"/>
                </a:lnTo>
                <a:lnTo>
                  <a:pt x="246444" y="595703"/>
                </a:lnTo>
                <a:lnTo>
                  <a:pt x="142186" y="705289"/>
                </a:lnTo>
                <a:lnTo>
                  <a:pt x="142186" y="705289"/>
                </a:lnTo>
                <a:lnTo>
                  <a:pt x="137422" y="707671"/>
                </a:lnTo>
                <a:lnTo>
                  <a:pt x="132720" y="707671"/>
                </a:lnTo>
                <a:lnTo>
                  <a:pt x="132720" y="707671"/>
                </a:lnTo>
                <a:lnTo>
                  <a:pt x="132720" y="707671"/>
                </a:lnTo>
                <a:lnTo>
                  <a:pt x="132720" y="707671"/>
                </a:lnTo>
                <a:close/>
                <a:moveTo>
                  <a:pt x="388630" y="21441"/>
                </a:moveTo>
                <a:lnTo>
                  <a:pt x="388630" y="21441"/>
                </a:lnTo>
                <a:lnTo>
                  <a:pt x="350701" y="23823"/>
                </a:lnTo>
                <a:lnTo>
                  <a:pt x="315155" y="28588"/>
                </a:lnTo>
                <a:lnTo>
                  <a:pt x="279608" y="35735"/>
                </a:lnTo>
                <a:lnTo>
                  <a:pt x="246444" y="45264"/>
                </a:lnTo>
                <a:lnTo>
                  <a:pt x="213280" y="57175"/>
                </a:lnTo>
                <a:lnTo>
                  <a:pt x="184817" y="71469"/>
                </a:lnTo>
                <a:lnTo>
                  <a:pt x="156355" y="88145"/>
                </a:lnTo>
                <a:lnTo>
                  <a:pt x="130275" y="107204"/>
                </a:lnTo>
                <a:lnTo>
                  <a:pt x="106577" y="126262"/>
                </a:lnTo>
                <a:lnTo>
                  <a:pt x="85262" y="150086"/>
                </a:lnTo>
                <a:lnTo>
                  <a:pt x="66329" y="171526"/>
                </a:lnTo>
                <a:lnTo>
                  <a:pt x="52097" y="197732"/>
                </a:lnTo>
                <a:lnTo>
                  <a:pt x="37866" y="223937"/>
                </a:lnTo>
                <a:lnTo>
                  <a:pt x="28400" y="252525"/>
                </a:lnTo>
                <a:lnTo>
                  <a:pt x="23635" y="278730"/>
                </a:lnTo>
                <a:lnTo>
                  <a:pt x="21315" y="309763"/>
                </a:lnTo>
                <a:lnTo>
                  <a:pt x="21315" y="309763"/>
                </a:lnTo>
                <a:lnTo>
                  <a:pt x="23698" y="338351"/>
                </a:lnTo>
                <a:lnTo>
                  <a:pt x="30782" y="369321"/>
                </a:lnTo>
                <a:lnTo>
                  <a:pt x="40249" y="397908"/>
                </a:lnTo>
                <a:lnTo>
                  <a:pt x="54480" y="426496"/>
                </a:lnTo>
                <a:lnTo>
                  <a:pt x="71093" y="452702"/>
                </a:lnTo>
                <a:lnTo>
                  <a:pt x="92409" y="478907"/>
                </a:lnTo>
                <a:lnTo>
                  <a:pt x="118489" y="500348"/>
                </a:lnTo>
                <a:lnTo>
                  <a:pt x="144569" y="521789"/>
                </a:lnTo>
                <a:lnTo>
                  <a:pt x="144569" y="521789"/>
                </a:lnTo>
                <a:lnTo>
                  <a:pt x="149271" y="526616"/>
                </a:lnTo>
                <a:lnTo>
                  <a:pt x="149271" y="531381"/>
                </a:lnTo>
                <a:lnTo>
                  <a:pt x="144506" y="669555"/>
                </a:lnTo>
                <a:lnTo>
                  <a:pt x="236977" y="576644"/>
                </a:lnTo>
                <a:lnTo>
                  <a:pt x="236977" y="576644"/>
                </a:lnTo>
                <a:lnTo>
                  <a:pt x="241742" y="574262"/>
                </a:lnTo>
                <a:lnTo>
                  <a:pt x="246506" y="574262"/>
                </a:lnTo>
                <a:lnTo>
                  <a:pt x="246506" y="574262"/>
                </a:lnTo>
                <a:lnTo>
                  <a:pt x="282053" y="583791"/>
                </a:lnTo>
                <a:lnTo>
                  <a:pt x="317600" y="590938"/>
                </a:lnTo>
                <a:lnTo>
                  <a:pt x="353146" y="593321"/>
                </a:lnTo>
                <a:lnTo>
                  <a:pt x="388693" y="595703"/>
                </a:lnTo>
                <a:lnTo>
                  <a:pt x="388693" y="595703"/>
                </a:lnTo>
                <a:lnTo>
                  <a:pt x="426622" y="593321"/>
                </a:lnTo>
                <a:lnTo>
                  <a:pt x="462168" y="590938"/>
                </a:lnTo>
                <a:lnTo>
                  <a:pt x="497715" y="583791"/>
                </a:lnTo>
                <a:lnTo>
                  <a:pt x="530879" y="574262"/>
                </a:lnTo>
                <a:lnTo>
                  <a:pt x="561661" y="559968"/>
                </a:lnTo>
                <a:lnTo>
                  <a:pt x="592443" y="545674"/>
                </a:lnTo>
                <a:lnTo>
                  <a:pt x="620905" y="531381"/>
                </a:lnTo>
                <a:lnTo>
                  <a:pt x="646985" y="512322"/>
                </a:lnTo>
                <a:lnTo>
                  <a:pt x="670683" y="490881"/>
                </a:lnTo>
                <a:lnTo>
                  <a:pt x="691999" y="469440"/>
                </a:lnTo>
                <a:lnTo>
                  <a:pt x="710932" y="445617"/>
                </a:lnTo>
                <a:lnTo>
                  <a:pt x="725163" y="421794"/>
                </a:lnTo>
                <a:lnTo>
                  <a:pt x="737012" y="393207"/>
                </a:lnTo>
                <a:lnTo>
                  <a:pt x="746478" y="367001"/>
                </a:lnTo>
                <a:lnTo>
                  <a:pt x="753563" y="338413"/>
                </a:lnTo>
                <a:lnTo>
                  <a:pt x="753563" y="309826"/>
                </a:lnTo>
                <a:lnTo>
                  <a:pt x="753563" y="309826"/>
                </a:lnTo>
                <a:lnTo>
                  <a:pt x="753563" y="278856"/>
                </a:lnTo>
                <a:lnTo>
                  <a:pt x="746478" y="252650"/>
                </a:lnTo>
                <a:lnTo>
                  <a:pt x="737012" y="224063"/>
                </a:lnTo>
                <a:lnTo>
                  <a:pt x="725163" y="197857"/>
                </a:lnTo>
                <a:lnTo>
                  <a:pt x="710932" y="171652"/>
                </a:lnTo>
                <a:lnTo>
                  <a:pt x="691999" y="150211"/>
                </a:lnTo>
                <a:lnTo>
                  <a:pt x="670683" y="126388"/>
                </a:lnTo>
                <a:lnTo>
                  <a:pt x="646985" y="107329"/>
                </a:lnTo>
                <a:lnTo>
                  <a:pt x="620905" y="88271"/>
                </a:lnTo>
                <a:lnTo>
                  <a:pt x="592443" y="71469"/>
                </a:lnTo>
                <a:lnTo>
                  <a:pt x="561661" y="57175"/>
                </a:lnTo>
                <a:lnTo>
                  <a:pt x="530879" y="45264"/>
                </a:lnTo>
                <a:lnTo>
                  <a:pt x="497652" y="35735"/>
                </a:lnTo>
                <a:lnTo>
                  <a:pt x="462106" y="28588"/>
                </a:lnTo>
                <a:lnTo>
                  <a:pt x="426559" y="23823"/>
                </a:lnTo>
                <a:lnTo>
                  <a:pt x="388630" y="21441"/>
                </a:lnTo>
                <a:lnTo>
                  <a:pt x="388630" y="21441"/>
                </a:lnTo>
                <a:lnTo>
                  <a:pt x="388630" y="21441"/>
                </a:lnTo>
                <a:lnTo>
                  <a:pt x="388630" y="21441"/>
                </a:lnTo>
                <a:close/>
              </a:path>
            </a:pathLst>
          </a:custGeom>
          <a:solidFill>
            <a:srgbClr val="FFFFFF"/>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8" name="Freeform: Shape 87">
            <a:extLst>
              <a:ext uri="{FF2B5EF4-FFF2-40B4-BE49-F238E27FC236}">
                <a16:creationId xmlns:a16="http://schemas.microsoft.com/office/drawing/2014/main" id="{E2D9FB2E-5795-4F33-9E1D-22CA39F6A4D9}"/>
              </a:ext>
            </a:extLst>
          </p:cNvPr>
          <p:cNvSpPr/>
          <p:nvPr/>
        </p:nvSpPr>
        <p:spPr>
          <a:xfrm>
            <a:off x="5408529" y="5448478"/>
            <a:ext cx="81500" cy="87769"/>
          </a:xfrm>
          <a:custGeom>
            <a:avLst/>
            <a:gdLst>
              <a:gd name="connsiteX0" fmla="*/ 41502 w 81500"/>
              <a:gd name="connsiteY0" fmla="*/ 88334 h 87769"/>
              <a:gd name="connsiteX1" fmla="*/ 41502 w 81500"/>
              <a:gd name="connsiteY1" fmla="*/ 88334 h 87769"/>
              <a:gd name="connsiteX2" fmla="*/ 32287 w 81500"/>
              <a:gd name="connsiteY2" fmla="*/ 85951 h 87769"/>
              <a:gd name="connsiteX3" fmla="*/ 25390 w 81500"/>
              <a:gd name="connsiteY3" fmla="*/ 83569 h 87769"/>
              <a:gd name="connsiteX4" fmla="*/ 18494 w 81500"/>
              <a:gd name="connsiteY4" fmla="*/ 78804 h 87769"/>
              <a:gd name="connsiteX5" fmla="*/ 11598 w 81500"/>
              <a:gd name="connsiteY5" fmla="*/ 74040 h 87769"/>
              <a:gd name="connsiteX6" fmla="*/ 6959 w 81500"/>
              <a:gd name="connsiteY6" fmla="*/ 69275 h 87769"/>
              <a:gd name="connsiteX7" fmla="*/ 2320 w 81500"/>
              <a:gd name="connsiteY7" fmla="*/ 59683 h 87769"/>
              <a:gd name="connsiteX8" fmla="*/ 0 w 81500"/>
              <a:gd name="connsiteY8" fmla="*/ 52536 h 87769"/>
              <a:gd name="connsiteX9" fmla="*/ 0 w 81500"/>
              <a:gd name="connsiteY9" fmla="*/ 42944 h 87769"/>
              <a:gd name="connsiteX10" fmla="*/ 0 w 81500"/>
              <a:gd name="connsiteY10" fmla="*/ 42944 h 87769"/>
              <a:gd name="connsiteX11" fmla="*/ 0 w 81500"/>
              <a:gd name="connsiteY11" fmla="*/ 35797 h 87769"/>
              <a:gd name="connsiteX12" fmla="*/ 2320 w 81500"/>
              <a:gd name="connsiteY12" fmla="*/ 26205 h 87769"/>
              <a:gd name="connsiteX13" fmla="*/ 6959 w 81500"/>
              <a:gd name="connsiteY13" fmla="*/ 19058 h 87769"/>
              <a:gd name="connsiteX14" fmla="*/ 11598 w 81500"/>
              <a:gd name="connsiteY14" fmla="*/ 11912 h 87769"/>
              <a:gd name="connsiteX15" fmla="*/ 18494 w 81500"/>
              <a:gd name="connsiteY15" fmla="*/ 7147 h 87769"/>
              <a:gd name="connsiteX16" fmla="*/ 25390 w 81500"/>
              <a:gd name="connsiteY16" fmla="*/ 2382 h 87769"/>
              <a:gd name="connsiteX17" fmla="*/ 32287 w 81500"/>
              <a:gd name="connsiteY17" fmla="*/ 0 h 87769"/>
              <a:gd name="connsiteX18" fmla="*/ 41502 w 81500"/>
              <a:gd name="connsiteY18" fmla="*/ 0 h 87769"/>
              <a:gd name="connsiteX19" fmla="*/ 41502 w 81500"/>
              <a:gd name="connsiteY19" fmla="*/ 0 h 87769"/>
              <a:gd name="connsiteX20" fmla="*/ 50718 w 81500"/>
              <a:gd name="connsiteY20" fmla="*/ 0 h 87769"/>
              <a:gd name="connsiteX21" fmla="*/ 57614 w 81500"/>
              <a:gd name="connsiteY21" fmla="*/ 2382 h 87769"/>
              <a:gd name="connsiteX22" fmla="*/ 64510 w 81500"/>
              <a:gd name="connsiteY22" fmla="*/ 7147 h 87769"/>
              <a:gd name="connsiteX23" fmla="*/ 71407 w 81500"/>
              <a:gd name="connsiteY23" fmla="*/ 11912 h 87769"/>
              <a:gd name="connsiteX24" fmla="*/ 76046 w 81500"/>
              <a:gd name="connsiteY24" fmla="*/ 19058 h 87769"/>
              <a:gd name="connsiteX25" fmla="*/ 80685 w 81500"/>
              <a:gd name="connsiteY25" fmla="*/ 26205 h 87769"/>
              <a:gd name="connsiteX26" fmla="*/ 83005 w 81500"/>
              <a:gd name="connsiteY26" fmla="*/ 35797 h 87769"/>
              <a:gd name="connsiteX27" fmla="*/ 83005 w 81500"/>
              <a:gd name="connsiteY27" fmla="*/ 42944 h 87769"/>
              <a:gd name="connsiteX28" fmla="*/ 83005 w 81500"/>
              <a:gd name="connsiteY28" fmla="*/ 42944 h 87769"/>
              <a:gd name="connsiteX29" fmla="*/ 83005 w 81500"/>
              <a:gd name="connsiteY29" fmla="*/ 52536 h 87769"/>
              <a:gd name="connsiteX30" fmla="*/ 80685 w 81500"/>
              <a:gd name="connsiteY30" fmla="*/ 59683 h 87769"/>
              <a:gd name="connsiteX31" fmla="*/ 76046 w 81500"/>
              <a:gd name="connsiteY31" fmla="*/ 69275 h 87769"/>
              <a:gd name="connsiteX32" fmla="*/ 71407 w 81500"/>
              <a:gd name="connsiteY32" fmla="*/ 74040 h 87769"/>
              <a:gd name="connsiteX33" fmla="*/ 64510 w 81500"/>
              <a:gd name="connsiteY33" fmla="*/ 78804 h 87769"/>
              <a:gd name="connsiteX34" fmla="*/ 57614 w 81500"/>
              <a:gd name="connsiteY34" fmla="*/ 83569 h 87769"/>
              <a:gd name="connsiteX35" fmla="*/ 50718 w 81500"/>
              <a:gd name="connsiteY35" fmla="*/ 85951 h 87769"/>
              <a:gd name="connsiteX36" fmla="*/ 41502 w 81500"/>
              <a:gd name="connsiteY36" fmla="*/ 88334 h 87769"/>
              <a:gd name="connsiteX37" fmla="*/ 41502 w 81500"/>
              <a:gd name="connsiteY37" fmla="*/ 88334 h 87769"/>
              <a:gd name="connsiteX38" fmla="*/ 41502 w 81500"/>
              <a:gd name="connsiteY38" fmla="*/ 88334 h 87769"/>
              <a:gd name="connsiteX39" fmla="*/ 41502 w 81500"/>
              <a:gd name="connsiteY39" fmla="*/ 88334 h 87769"/>
              <a:gd name="connsiteX40" fmla="*/ 41502 w 81500"/>
              <a:gd name="connsiteY40" fmla="*/ 21378 h 87769"/>
              <a:gd name="connsiteX41" fmla="*/ 41502 w 81500"/>
              <a:gd name="connsiteY41" fmla="*/ 21378 h 87769"/>
              <a:gd name="connsiteX42" fmla="*/ 32287 w 81500"/>
              <a:gd name="connsiteY42" fmla="*/ 23760 h 87769"/>
              <a:gd name="connsiteX43" fmla="*/ 25390 w 81500"/>
              <a:gd name="connsiteY43" fmla="*/ 28525 h 87769"/>
              <a:gd name="connsiteX44" fmla="*/ 20751 w 81500"/>
              <a:gd name="connsiteY44" fmla="*/ 35672 h 87769"/>
              <a:gd name="connsiteX45" fmla="*/ 20751 w 81500"/>
              <a:gd name="connsiteY45" fmla="*/ 42819 h 87769"/>
              <a:gd name="connsiteX46" fmla="*/ 20751 w 81500"/>
              <a:gd name="connsiteY46" fmla="*/ 42819 h 87769"/>
              <a:gd name="connsiteX47" fmla="*/ 20751 w 81500"/>
              <a:gd name="connsiteY47" fmla="*/ 52411 h 87769"/>
              <a:gd name="connsiteX48" fmla="*/ 25390 w 81500"/>
              <a:gd name="connsiteY48" fmla="*/ 59558 h 87769"/>
              <a:gd name="connsiteX49" fmla="*/ 32287 w 81500"/>
              <a:gd name="connsiteY49" fmla="*/ 64322 h 87769"/>
              <a:gd name="connsiteX50" fmla="*/ 41502 w 81500"/>
              <a:gd name="connsiteY50" fmla="*/ 66705 h 87769"/>
              <a:gd name="connsiteX51" fmla="*/ 41502 w 81500"/>
              <a:gd name="connsiteY51" fmla="*/ 66705 h 87769"/>
              <a:gd name="connsiteX52" fmla="*/ 50718 w 81500"/>
              <a:gd name="connsiteY52" fmla="*/ 64322 h 87769"/>
              <a:gd name="connsiteX53" fmla="*/ 57614 w 81500"/>
              <a:gd name="connsiteY53" fmla="*/ 59558 h 87769"/>
              <a:gd name="connsiteX54" fmla="*/ 62254 w 81500"/>
              <a:gd name="connsiteY54" fmla="*/ 52411 h 87769"/>
              <a:gd name="connsiteX55" fmla="*/ 62254 w 81500"/>
              <a:gd name="connsiteY55" fmla="*/ 42819 h 87769"/>
              <a:gd name="connsiteX56" fmla="*/ 62254 w 81500"/>
              <a:gd name="connsiteY56" fmla="*/ 42819 h 87769"/>
              <a:gd name="connsiteX57" fmla="*/ 62254 w 81500"/>
              <a:gd name="connsiteY57" fmla="*/ 35672 h 87769"/>
              <a:gd name="connsiteX58" fmla="*/ 57614 w 81500"/>
              <a:gd name="connsiteY58" fmla="*/ 28525 h 87769"/>
              <a:gd name="connsiteX59" fmla="*/ 50718 w 81500"/>
              <a:gd name="connsiteY59" fmla="*/ 23760 h 87769"/>
              <a:gd name="connsiteX60" fmla="*/ 41502 w 81500"/>
              <a:gd name="connsiteY60" fmla="*/ 21378 h 87769"/>
              <a:gd name="connsiteX61" fmla="*/ 41502 w 81500"/>
              <a:gd name="connsiteY61" fmla="*/ 21378 h 87769"/>
              <a:gd name="connsiteX62" fmla="*/ 41502 w 81500"/>
              <a:gd name="connsiteY62" fmla="*/ 21378 h 87769"/>
              <a:gd name="connsiteX63" fmla="*/ 41502 w 81500"/>
              <a:gd name="connsiteY63" fmla="*/ 21378 h 8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1500" h="87769">
                <a:moveTo>
                  <a:pt x="41502" y="88334"/>
                </a:moveTo>
                <a:lnTo>
                  <a:pt x="41502" y="88334"/>
                </a:lnTo>
                <a:lnTo>
                  <a:pt x="32287" y="85951"/>
                </a:lnTo>
                <a:lnTo>
                  <a:pt x="25390" y="83569"/>
                </a:lnTo>
                <a:lnTo>
                  <a:pt x="18494" y="78804"/>
                </a:lnTo>
                <a:lnTo>
                  <a:pt x="11598" y="74040"/>
                </a:lnTo>
                <a:lnTo>
                  <a:pt x="6959" y="69275"/>
                </a:lnTo>
                <a:lnTo>
                  <a:pt x="2320" y="59683"/>
                </a:lnTo>
                <a:lnTo>
                  <a:pt x="0" y="52536"/>
                </a:lnTo>
                <a:lnTo>
                  <a:pt x="0" y="42944"/>
                </a:lnTo>
                <a:lnTo>
                  <a:pt x="0" y="42944"/>
                </a:lnTo>
                <a:lnTo>
                  <a:pt x="0" y="35797"/>
                </a:lnTo>
                <a:lnTo>
                  <a:pt x="2320" y="26205"/>
                </a:lnTo>
                <a:lnTo>
                  <a:pt x="6959" y="19058"/>
                </a:lnTo>
                <a:lnTo>
                  <a:pt x="11598" y="11912"/>
                </a:lnTo>
                <a:lnTo>
                  <a:pt x="18494" y="7147"/>
                </a:lnTo>
                <a:lnTo>
                  <a:pt x="25390" y="2382"/>
                </a:lnTo>
                <a:lnTo>
                  <a:pt x="32287" y="0"/>
                </a:lnTo>
                <a:lnTo>
                  <a:pt x="41502" y="0"/>
                </a:lnTo>
                <a:lnTo>
                  <a:pt x="41502" y="0"/>
                </a:lnTo>
                <a:lnTo>
                  <a:pt x="50718" y="0"/>
                </a:lnTo>
                <a:lnTo>
                  <a:pt x="57614" y="2382"/>
                </a:lnTo>
                <a:lnTo>
                  <a:pt x="64510" y="7147"/>
                </a:lnTo>
                <a:lnTo>
                  <a:pt x="71407" y="11912"/>
                </a:lnTo>
                <a:lnTo>
                  <a:pt x="76046" y="19058"/>
                </a:lnTo>
                <a:lnTo>
                  <a:pt x="80685" y="26205"/>
                </a:lnTo>
                <a:lnTo>
                  <a:pt x="83005" y="35797"/>
                </a:lnTo>
                <a:lnTo>
                  <a:pt x="83005" y="42944"/>
                </a:lnTo>
                <a:lnTo>
                  <a:pt x="83005" y="42944"/>
                </a:lnTo>
                <a:lnTo>
                  <a:pt x="83005" y="52536"/>
                </a:lnTo>
                <a:lnTo>
                  <a:pt x="80685" y="59683"/>
                </a:lnTo>
                <a:lnTo>
                  <a:pt x="76046" y="69275"/>
                </a:lnTo>
                <a:lnTo>
                  <a:pt x="71407" y="74040"/>
                </a:lnTo>
                <a:lnTo>
                  <a:pt x="64510" y="78804"/>
                </a:lnTo>
                <a:lnTo>
                  <a:pt x="57614" y="83569"/>
                </a:lnTo>
                <a:lnTo>
                  <a:pt x="50718" y="85951"/>
                </a:lnTo>
                <a:lnTo>
                  <a:pt x="41502" y="88334"/>
                </a:lnTo>
                <a:lnTo>
                  <a:pt x="41502" y="88334"/>
                </a:lnTo>
                <a:lnTo>
                  <a:pt x="41502" y="88334"/>
                </a:lnTo>
                <a:lnTo>
                  <a:pt x="41502" y="88334"/>
                </a:lnTo>
                <a:close/>
                <a:moveTo>
                  <a:pt x="41502" y="21378"/>
                </a:moveTo>
                <a:lnTo>
                  <a:pt x="41502" y="21378"/>
                </a:lnTo>
                <a:lnTo>
                  <a:pt x="32287" y="23760"/>
                </a:lnTo>
                <a:lnTo>
                  <a:pt x="25390" y="28525"/>
                </a:lnTo>
                <a:lnTo>
                  <a:pt x="20751" y="35672"/>
                </a:lnTo>
                <a:lnTo>
                  <a:pt x="20751" y="42819"/>
                </a:lnTo>
                <a:lnTo>
                  <a:pt x="20751" y="42819"/>
                </a:lnTo>
                <a:lnTo>
                  <a:pt x="20751" y="52411"/>
                </a:lnTo>
                <a:lnTo>
                  <a:pt x="25390" y="59558"/>
                </a:lnTo>
                <a:lnTo>
                  <a:pt x="32287" y="64322"/>
                </a:lnTo>
                <a:lnTo>
                  <a:pt x="41502" y="66705"/>
                </a:lnTo>
                <a:lnTo>
                  <a:pt x="41502" y="66705"/>
                </a:lnTo>
                <a:lnTo>
                  <a:pt x="50718" y="64322"/>
                </a:lnTo>
                <a:lnTo>
                  <a:pt x="57614" y="59558"/>
                </a:lnTo>
                <a:lnTo>
                  <a:pt x="62254" y="52411"/>
                </a:lnTo>
                <a:lnTo>
                  <a:pt x="62254" y="42819"/>
                </a:lnTo>
                <a:lnTo>
                  <a:pt x="62254" y="42819"/>
                </a:lnTo>
                <a:lnTo>
                  <a:pt x="62254" y="35672"/>
                </a:lnTo>
                <a:lnTo>
                  <a:pt x="57614" y="28525"/>
                </a:lnTo>
                <a:lnTo>
                  <a:pt x="50718" y="23760"/>
                </a:lnTo>
                <a:lnTo>
                  <a:pt x="41502" y="21378"/>
                </a:lnTo>
                <a:lnTo>
                  <a:pt x="41502" y="21378"/>
                </a:lnTo>
                <a:lnTo>
                  <a:pt x="41502" y="21378"/>
                </a:lnTo>
                <a:lnTo>
                  <a:pt x="41502" y="21378"/>
                </a:lnTo>
                <a:close/>
              </a:path>
            </a:pathLst>
          </a:custGeom>
          <a:solidFill>
            <a:srgbClr val="FFFFFF"/>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9" name="Freeform: Shape 88">
            <a:extLst>
              <a:ext uri="{FF2B5EF4-FFF2-40B4-BE49-F238E27FC236}">
                <a16:creationId xmlns:a16="http://schemas.microsoft.com/office/drawing/2014/main" id="{D4557068-8F6D-40E1-8850-F67F2B974FC0}"/>
              </a:ext>
            </a:extLst>
          </p:cNvPr>
          <p:cNvSpPr/>
          <p:nvPr/>
        </p:nvSpPr>
        <p:spPr>
          <a:xfrm>
            <a:off x="5513602" y="5448478"/>
            <a:ext cx="87769" cy="87769"/>
          </a:xfrm>
          <a:custGeom>
            <a:avLst/>
            <a:gdLst>
              <a:gd name="connsiteX0" fmla="*/ 45515 w 87769"/>
              <a:gd name="connsiteY0" fmla="*/ 88334 h 87769"/>
              <a:gd name="connsiteX1" fmla="*/ 45515 w 87769"/>
              <a:gd name="connsiteY1" fmla="*/ 88334 h 87769"/>
              <a:gd name="connsiteX2" fmla="*/ 35923 w 87769"/>
              <a:gd name="connsiteY2" fmla="*/ 85951 h 87769"/>
              <a:gd name="connsiteX3" fmla="*/ 28713 w 87769"/>
              <a:gd name="connsiteY3" fmla="*/ 83569 h 87769"/>
              <a:gd name="connsiteX4" fmla="*/ 21503 w 87769"/>
              <a:gd name="connsiteY4" fmla="*/ 78804 h 87769"/>
              <a:gd name="connsiteX5" fmla="*/ 14294 w 87769"/>
              <a:gd name="connsiteY5" fmla="*/ 74040 h 87769"/>
              <a:gd name="connsiteX6" fmla="*/ 9529 w 87769"/>
              <a:gd name="connsiteY6" fmla="*/ 69275 h 87769"/>
              <a:gd name="connsiteX7" fmla="*/ 4765 w 87769"/>
              <a:gd name="connsiteY7" fmla="*/ 59683 h 87769"/>
              <a:gd name="connsiteX8" fmla="*/ 2382 w 87769"/>
              <a:gd name="connsiteY8" fmla="*/ 52536 h 87769"/>
              <a:gd name="connsiteX9" fmla="*/ 0 w 87769"/>
              <a:gd name="connsiteY9" fmla="*/ 42944 h 87769"/>
              <a:gd name="connsiteX10" fmla="*/ 0 w 87769"/>
              <a:gd name="connsiteY10" fmla="*/ 42944 h 87769"/>
              <a:gd name="connsiteX11" fmla="*/ 2382 w 87769"/>
              <a:gd name="connsiteY11" fmla="*/ 35797 h 87769"/>
              <a:gd name="connsiteX12" fmla="*/ 4765 w 87769"/>
              <a:gd name="connsiteY12" fmla="*/ 26205 h 87769"/>
              <a:gd name="connsiteX13" fmla="*/ 9529 w 87769"/>
              <a:gd name="connsiteY13" fmla="*/ 19058 h 87769"/>
              <a:gd name="connsiteX14" fmla="*/ 14294 w 87769"/>
              <a:gd name="connsiteY14" fmla="*/ 11912 h 87769"/>
              <a:gd name="connsiteX15" fmla="*/ 21503 w 87769"/>
              <a:gd name="connsiteY15" fmla="*/ 7147 h 87769"/>
              <a:gd name="connsiteX16" fmla="*/ 28713 w 87769"/>
              <a:gd name="connsiteY16" fmla="*/ 2382 h 87769"/>
              <a:gd name="connsiteX17" fmla="*/ 35923 w 87769"/>
              <a:gd name="connsiteY17" fmla="*/ 0 h 87769"/>
              <a:gd name="connsiteX18" fmla="*/ 45515 w 87769"/>
              <a:gd name="connsiteY18" fmla="*/ 0 h 87769"/>
              <a:gd name="connsiteX19" fmla="*/ 45515 w 87769"/>
              <a:gd name="connsiteY19" fmla="*/ 0 h 87769"/>
              <a:gd name="connsiteX20" fmla="*/ 55107 w 87769"/>
              <a:gd name="connsiteY20" fmla="*/ 0 h 87769"/>
              <a:gd name="connsiteX21" fmla="*/ 62316 w 87769"/>
              <a:gd name="connsiteY21" fmla="*/ 2382 h 87769"/>
              <a:gd name="connsiteX22" fmla="*/ 69526 w 87769"/>
              <a:gd name="connsiteY22" fmla="*/ 7147 h 87769"/>
              <a:gd name="connsiteX23" fmla="*/ 76736 w 87769"/>
              <a:gd name="connsiteY23" fmla="*/ 11912 h 87769"/>
              <a:gd name="connsiteX24" fmla="*/ 81500 w 87769"/>
              <a:gd name="connsiteY24" fmla="*/ 19058 h 87769"/>
              <a:gd name="connsiteX25" fmla="*/ 86265 w 87769"/>
              <a:gd name="connsiteY25" fmla="*/ 26205 h 87769"/>
              <a:gd name="connsiteX26" fmla="*/ 88647 w 87769"/>
              <a:gd name="connsiteY26" fmla="*/ 35797 h 87769"/>
              <a:gd name="connsiteX27" fmla="*/ 88647 w 87769"/>
              <a:gd name="connsiteY27" fmla="*/ 42944 h 87769"/>
              <a:gd name="connsiteX28" fmla="*/ 88647 w 87769"/>
              <a:gd name="connsiteY28" fmla="*/ 42944 h 87769"/>
              <a:gd name="connsiteX29" fmla="*/ 88647 w 87769"/>
              <a:gd name="connsiteY29" fmla="*/ 52536 h 87769"/>
              <a:gd name="connsiteX30" fmla="*/ 86265 w 87769"/>
              <a:gd name="connsiteY30" fmla="*/ 59683 h 87769"/>
              <a:gd name="connsiteX31" fmla="*/ 81500 w 87769"/>
              <a:gd name="connsiteY31" fmla="*/ 69275 h 87769"/>
              <a:gd name="connsiteX32" fmla="*/ 76736 w 87769"/>
              <a:gd name="connsiteY32" fmla="*/ 74040 h 87769"/>
              <a:gd name="connsiteX33" fmla="*/ 69526 w 87769"/>
              <a:gd name="connsiteY33" fmla="*/ 78804 h 87769"/>
              <a:gd name="connsiteX34" fmla="*/ 62316 w 87769"/>
              <a:gd name="connsiteY34" fmla="*/ 83569 h 87769"/>
              <a:gd name="connsiteX35" fmla="*/ 55107 w 87769"/>
              <a:gd name="connsiteY35" fmla="*/ 85951 h 87769"/>
              <a:gd name="connsiteX36" fmla="*/ 45515 w 87769"/>
              <a:gd name="connsiteY36" fmla="*/ 88334 h 87769"/>
              <a:gd name="connsiteX37" fmla="*/ 45515 w 87769"/>
              <a:gd name="connsiteY37" fmla="*/ 88334 h 87769"/>
              <a:gd name="connsiteX38" fmla="*/ 45515 w 87769"/>
              <a:gd name="connsiteY38" fmla="*/ 88334 h 87769"/>
              <a:gd name="connsiteX39" fmla="*/ 45515 w 87769"/>
              <a:gd name="connsiteY39" fmla="*/ 88334 h 87769"/>
              <a:gd name="connsiteX40" fmla="*/ 45515 w 87769"/>
              <a:gd name="connsiteY40" fmla="*/ 21378 h 87769"/>
              <a:gd name="connsiteX41" fmla="*/ 45515 w 87769"/>
              <a:gd name="connsiteY41" fmla="*/ 21378 h 87769"/>
              <a:gd name="connsiteX42" fmla="*/ 35923 w 87769"/>
              <a:gd name="connsiteY42" fmla="*/ 23760 h 87769"/>
              <a:gd name="connsiteX43" fmla="*/ 28713 w 87769"/>
              <a:gd name="connsiteY43" fmla="*/ 28525 h 87769"/>
              <a:gd name="connsiteX44" fmla="*/ 23948 w 87769"/>
              <a:gd name="connsiteY44" fmla="*/ 35672 h 87769"/>
              <a:gd name="connsiteX45" fmla="*/ 21566 w 87769"/>
              <a:gd name="connsiteY45" fmla="*/ 42819 h 87769"/>
              <a:gd name="connsiteX46" fmla="*/ 21566 w 87769"/>
              <a:gd name="connsiteY46" fmla="*/ 42819 h 87769"/>
              <a:gd name="connsiteX47" fmla="*/ 23948 w 87769"/>
              <a:gd name="connsiteY47" fmla="*/ 52411 h 87769"/>
              <a:gd name="connsiteX48" fmla="*/ 28713 w 87769"/>
              <a:gd name="connsiteY48" fmla="*/ 59558 h 87769"/>
              <a:gd name="connsiteX49" fmla="*/ 35923 w 87769"/>
              <a:gd name="connsiteY49" fmla="*/ 64322 h 87769"/>
              <a:gd name="connsiteX50" fmla="*/ 45515 w 87769"/>
              <a:gd name="connsiteY50" fmla="*/ 66705 h 87769"/>
              <a:gd name="connsiteX51" fmla="*/ 45515 w 87769"/>
              <a:gd name="connsiteY51" fmla="*/ 66705 h 87769"/>
              <a:gd name="connsiteX52" fmla="*/ 55107 w 87769"/>
              <a:gd name="connsiteY52" fmla="*/ 64322 h 87769"/>
              <a:gd name="connsiteX53" fmla="*/ 59871 w 87769"/>
              <a:gd name="connsiteY53" fmla="*/ 59558 h 87769"/>
              <a:gd name="connsiteX54" fmla="*/ 64636 w 87769"/>
              <a:gd name="connsiteY54" fmla="*/ 52411 h 87769"/>
              <a:gd name="connsiteX55" fmla="*/ 67018 w 87769"/>
              <a:gd name="connsiteY55" fmla="*/ 42819 h 87769"/>
              <a:gd name="connsiteX56" fmla="*/ 67018 w 87769"/>
              <a:gd name="connsiteY56" fmla="*/ 42819 h 87769"/>
              <a:gd name="connsiteX57" fmla="*/ 64636 w 87769"/>
              <a:gd name="connsiteY57" fmla="*/ 35672 h 87769"/>
              <a:gd name="connsiteX58" fmla="*/ 59871 w 87769"/>
              <a:gd name="connsiteY58" fmla="*/ 28525 h 87769"/>
              <a:gd name="connsiteX59" fmla="*/ 55107 w 87769"/>
              <a:gd name="connsiteY59" fmla="*/ 23760 h 87769"/>
              <a:gd name="connsiteX60" fmla="*/ 45515 w 87769"/>
              <a:gd name="connsiteY60" fmla="*/ 21378 h 87769"/>
              <a:gd name="connsiteX61" fmla="*/ 45515 w 87769"/>
              <a:gd name="connsiteY61" fmla="*/ 21378 h 87769"/>
              <a:gd name="connsiteX62" fmla="*/ 45515 w 87769"/>
              <a:gd name="connsiteY62" fmla="*/ 21378 h 87769"/>
              <a:gd name="connsiteX63" fmla="*/ 45515 w 87769"/>
              <a:gd name="connsiteY63" fmla="*/ 21378 h 8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7769" h="87769">
                <a:moveTo>
                  <a:pt x="45515" y="88334"/>
                </a:moveTo>
                <a:lnTo>
                  <a:pt x="45515" y="88334"/>
                </a:lnTo>
                <a:lnTo>
                  <a:pt x="35923" y="85951"/>
                </a:lnTo>
                <a:lnTo>
                  <a:pt x="28713" y="83569"/>
                </a:lnTo>
                <a:lnTo>
                  <a:pt x="21503" y="78804"/>
                </a:lnTo>
                <a:lnTo>
                  <a:pt x="14294" y="74040"/>
                </a:lnTo>
                <a:lnTo>
                  <a:pt x="9529" y="69275"/>
                </a:lnTo>
                <a:lnTo>
                  <a:pt x="4765" y="59683"/>
                </a:lnTo>
                <a:lnTo>
                  <a:pt x="2382" y="52536"/>
                </a:lnTo>
                <a:lnTo>
                  <a:pt x="0" y="42944"/>
                </a:lnTo>
                <a:lnTo>
                  <a:pt x="0" y="42944"/>
                </a:lnTo>
                <a:lnTo>
                  <a:pt x="2382" y="35797"/>
                </a:lnTo>
                <a:lnTo>
                  <a:pt x="4765" y="26205"/>
                </a:lnTo>
                <a:lnTo>
                  <a:pt x="9529" y="19058"/>
                </a:lnTo>
                <a:lnTo>
                  <a:pt x="14294" y="11912"/>
                </a:lnTo>
                <a:lnTo>
                  <a:pt x="21503" y="7147"/>
                </a:lnTo>
                <a:lnTo>
                  <a:pt x="28713" y="2382"/>
                </a:lnTo>
                <a:lnTo>
                  <a:pt x="35923" y="0"/>
                </a:lnTo>
                <a:lnTo>
                  <a:pt x="45515" y="0"/>
                </a:lnTo>
                <a:lnTo>
                  <a:pt x="45515" y="0"/>
                </a:lnTo>
                <a:lnTo>
                  <a:pt x="55107" y="0"/>
                </a:lnTo>
                <a:lnTo>
                  <a:pt x="62316" y="2382"/>
                </a:lnTo>
                <a:lnTo>
                  <a:pt x="69526" y="7147"/>
                </a:lnTo>
                <a:lnTo>
                  <a:pt x="76736" y="11912"/>
                </a:lnTo>
                <a:lnTo>
                  <a:pt x="81500" y="19058"/>
                </a:lnTo>
                <a:lnTo>
                  <a:pt x="86265" y="26205"/>
                </a:lnTo>
                <a:lnTo>
                  <a:pt x="88647" y="35797"/>
                </a:lnTo>
                <a:lnTo>
                  <a:pt x="88647" y="42944"/>
                </a:lnTo>
                <a:lnTo>
                  <a:pt x="88647" y="42944"/>
                </a:lnTo>
                <a:lnTo>
                  <a:pt x="88647" y="52536"/>
                </a:lnTo>
                <a:lnTo>
                  <a:pt x="86265" y="59683"/>
                </a:lnTo>
                <a:lnTo>
                  <a:pt x="81500" y="69275"/>
                </a:lnTo>
                <a:lnTo>
                  <a:pt x="76736" y="74040"/>
                </a:lnTo>
                <a:lnTo>
                  <a:pt x="69526" y="78804"/>
                </a:lnTo>
                <a:lnTo>
                  <a:pt x="62316" y="83569"/>
                </a:lnTo>
                <a:lnTo>
                  <a:pt x="55107" y="85951"/>
                </a:lnTo>
                <a:lnTo>
                  <a:pt x="45515" y="88334"/>
                </a:lnTo>
                <a:lnTo>
                  <a:pt x="45515" y="88334"/>
                </a:lnTo>
                <a:lnTo>
                  <a:pt x="45515" y="88334"/>
                </a:lnTo>
                <a:lnTo>
                  <a:pt x="45515" y="88334"/>
                </a:lnTo>
                <a:close/>
                <a:moveTo>
                  <a:pt x="45515" y="21378"/>
                </a:moveTo>
                <a:lnTo>
                  <a:pt x="45515" y="21378"/>
                </a:lnTo>
                <a:lnTo>
                  <a:pt x="35923" y="23760"/>
                </a:lnTo>
                <a:lnTo>
                  <a:pt x="28713" y="28525"/>
                </a:lnTo>
                <a:lnTo>
                  <a:pt x="23948" y="35672"/>
                </a:lnTo>
                <a:lnTo>
                  <a:pt x="21566" y="42819"/>
                </a:lnTo>
                <a:lnTo>
                  <a:pt x="21566" y="42819"/>
                </a:lnTo>
                <a:lnTo>
                  <a:pt x="23948" y="52411"/>
                </a:lnTo>
                <a:lnTo>
                  <a:pt x="28713" y="59558"/>
                </a:lnTo>
                <a:lnTo>
                  <a:pt x="35923" y="64322"/>
                </a:lnTo>
                <a:lnTo>
                  <a:pt x="45515" y="66705"/>
                </a:lnTo>
                <a:lnTo>
                  <a:pt x="45515" y="66705"/>
                </a:lnTo>
                <a:lnTo>
                  <a:pt x="55107" y="64322"/>
                </a:lnTo>
                <a:lnTo>
                  <a:pt x="59871" y="59558"/>
                </a:lnTo>
                <a:lnTo>
                  <a:pt x="64636" y="52411"/>
                </a:lnTo>
                <a:lnTo>
                  <a:pt x="67018" y="42819"/>
                </a:lnTo>
                <a:lnTo>
                  <a:pt x="67018" y="42819"/>
                </a:lnTo>
                <a:lnTo>
                  <a:pt x="64636" y="35672"/>
                </a:lnTo>
                <a:lnTo>
                  <a:pt x="59871" y="28525"/>
                </a:lnTo>
                <a:lnTo>
                  <a:pt x="55107" y="23760"/>
                </a:lnTo>
                <a:lnTo>
                  <a:pt x="45515" y="21378"/>
                </a:lnTo>
                <a:lnTo>
                  <a:pt x="45515" y="21378"/>
                </a:lnTo>
                <a:lnTo>
                  <a:pt x="45515" y="21378"/>
                </a:lnTo>
                <a:lnTo>
                  <a:pt x="45515" y="21378"/>
                </a:lnTo>
                <a:close/>
              </a:path>
            </a:pathLst>
          </a:custGeom>
          <a:solidFill>
            <a:srgbClr val="FFFFFF"/>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0" name="Freeform: Shape 89">
            <a:extLst>
              <a:ext uri="{FF2B5EF4-FFF2-40B4-BE49-F238E27FC236}">
                <a16:creationId xmlns:a16="http://schemas.microsoft.com/office/drawing/2014/main" id="{86B1645C-FB12-4962-BDBE-BB16F70E7A30}"/>
              </a:ext>
            </a:extLst>
          </p:cNvPr>
          <p:cNvSpPr/>
          <p:nvPr/>
        </p:nvSpPr>
        <p:spPr>
          <a:xfrm>
            <a:off x="5624317" y="5448478"/>
            <a:ext cx="87769" cy="87769"/>
          </a:xfrm>
          <a:custGeom>
            <a:avLst/>
            <a:gdLst>
              <a:gd name="connsiteX0" fmla="*/ 45515 w 87769"/>
              <a:gd name="connsiteY0" fmla="*/ 88334 h 87769"/>
              <a:gd name="connsiteX1" fmla="*/ 45515 w 87769"/>
              <a:gd name="connsiteY1" fmla="*/ 88334 h 87769"/>
              <a:gd name="connsiteX2" fmla="*/ 35923 w 87769"/>
              <a:gd name="connsiteY2" fmla="*/ 85951 h 87769"/>
              <a:gd name="connsiteX3" fmla="*/ 28713 w 87769"/>
              <a:gd name="connsiteY3" fmla="*/ 83569 h 87769"/>
              <a:gd name="connsiteX4" fmla="*/ 21503 w 87769"/>
              <a:gd name="connsiteY4" fmla="*/ 78804 h 87769"/>
              <a:gd name="connsiteX5" fmla="*/ 14294 w 87769"/>
              <a:gd name="connsiteY5" fmla="*/ 74040 h 87769"/>
              <a:gd name="connsiteX6" fmla="*/ 9529 w 87769"/>
              <a:gd name="connsiteY6" fmla="*/ 69275 h 87769"/>
              <a:gd name="connsiteX7" fmla="*/ 4765 w 87769"/>
              <a:gd name="connsiteY7" fmla="*/ 59683 h 87769"/>
              <a:gd name="connsiteX8" fmla="*/ 2382 w 87769"/>
              <a:gd name="connsiteY8" fmla="*/ 52536 h 87769"/>
              <a:gd name="connsiteX9" fmla="*/ 0 w 87769"/>
              <a:gd name="connsiteY9" fmla="*/ 42944 h 87769"/>
              <a:gd name="connsiteX10" fmla="*/ 0 w 87769"/>
              <a:gd name="connsiteY10" fmla="*/ 42944 h 87769"/>
              <a:gd name="connsiteX11" fmla="*/ 2382 w 87769"/>
              <a:gd name="connsiteY11" fmla="*/ 35797 h 87769"/>
              <a:gd name="connsiteX12" fmla="*/ 4765 w 87769"/>
              <a:gd name="connsiteY12" fmla="*/ 26205 h 87769"/>
              <a:gd name="connsiteX13" fmla="*/ 9529 w 87769"/>
              <a:gd name="connsiteY13" fmla="*/ 19058 h 87769"/>
              <a:gd name="connsiteX14" fmla="*/ 14294 w 87769"/>
              <a:gd name="connsiteY14" fmla="*/ 11912 h 87769"/>
              <a:gd name="connsiteX15" fmla="*/ 21503 w 87769"/>
              <a:gd name="connsiteY15" fmla="*/ 7147 h 87769"/>
              <a:gd name="connsiteX16" fmla="*/ 28713 w 87769"/>
              <a:gd name="connsiteY16" fmla="*/ 2382 h 87769"/>
              <a:gd name="connsiteX17" fmla="*/ 35923 w 87769"/>
              <a:gd name="connsiteY17" fmla="*/ 0 h 87769"/>
              <a:gd name="connsiteX18" fmla="*/ 45515 w 87769"/>
              <a:gd name="connsiteY18" fmla="*/ 0 h 87769"/>
              <a:gd name="connsiteX19" fmla="*/ 45515 w 87769"/>
              <a:gd name="connsiteY19" fmla="*/ 0 h 87769"/>
              <a:gd name="connsiteX20" fmla="*/ 52724 w 87769"/>
              <a:gd name="connsiteY20" fmla="*/ 0 h 87769"/>
              <a:gd name="connsiteX21" fmla="*/ 62316 w 87769"/>
              <a:gd name="connsiteY21" fmla="*/ 2382 h 87769"/>
              <a:gd name="connsiteX22" fmla="*/ 69526 w 87769"/>
              <a:gd name="connsiteY22" fmla="*/ 7147 h 87769"/>
              <a:gd name="connsiteX23" fmla="*/ 76735 w 87769"/>
              <a:gd name="connsiteY23" fmla="*/ 11912 h 87769"/>
              <a:gd name="connsiteX24" fmla="*/ 81500 w 87769"/>
              <a:gd name="connsiteY24" fmla="*/ 19058 h 87769"/>
              <a:gd name="connsiteX25" fmla="*/ 86265 w 87769"/>
              <a:gd name="connsiteY25" fmla="*/ 26205 h 87769"/>
              <a:gd name="connsiteX26" fmla="*/ 88647 w 87769"/>
              <a:gd name="connsiteY26" fmla="*/ 35797 h 87769"/>
              <a:gd name="connsiteX27" fmla="*/ 88647 w 87769"/>
              <a:gd name="connsiteY27" fmla="*/ 42944 h 87769"/>
              <a:gd name="connsiteX28" fmla="*/ 88647 w 87769"/>
              <a:gd name="connsiteY28" fmla="*/ 42944 h 87769"/>
              <a:gd name="connsiteX29" fmla="*/ 88647 w 87769"/>
              <a:gd name="connsiteY29" fmla="*/ 52536 h 87769"/>
              <a:gd name="connsiteX30" fmla="*/ 86265 w 87769"/>
              <a:gd name="connsiteY30" fmla="*/ 59683 h 87769"/>
              <a:gd name="connsiteX31" fmla="*/ 81500 w 87769"/>
              <a:gd name="connsiteY31" fmla="*/ 69275 h 87769"/>
              <a:gd name="connsiteX32" fmla="*/ 76735 w 87769"/>
              <a:gd name="connsiteY32" fmla="*/ 74040 h 87769"/>
              <a:gd name="connsiteX33" fmla="*/ 69526 w 87769"/>
              <a:gd name="connsiteY33" fmla="*/ 78804 h 87769"/>
              <a:gd name="connsiteX34" fmla="*/ 62316 w 87769"/>
              <a:gd name="connsiteY34" fmla="*/ 83569 h 87769"/>
              <a:gd name="connsiteX35" fmla="*/ 52724 w 87769"/>
              <a:gd name="connsiteY35" fmla="*/ 85951 h 87769"/>
              <a:gd name="connsiteX36" fmla="*/ 45515 w 87769"/>
              <a:gd name="connsiteY36" fmla="*/ 88334 h 87769"/>
              <a:gd name="connsiteX37" fmla="*/ 45515 w 87769"/>
              <a:gd name="connsiteY37" fmla="*/ 88334 h 87769"/>
              <a:gd name="connsiteX38" fmla="*/ 45515 w 87769"/>
              <a:gd name="connsiteY38" fmla="*/ 88334 h 87769"/>
              <a:gd name="connsiteX39" fmla="*/ 45515 w 87769"/>
              <a:gd name="connsiteY39" fmla="*/ 88334 h 87769"/>
              <a:gd name="connsiteX40" fmla="*/ 45515 w 87769"/>
              <a:gd name="connsiteY40" fmla="*/ 21378 h 87769"/>
              <a:gd name="connsiteX41" fmla="*/ 45515 w 87769"/>
              <a:gd name="connsiteY41" fmla="*/ 21378 h 87769"/>
              <a:gd name="connsiteX42" fmla="*/ 35923 w 87769"/>
              <a:gd name="connsiteY42" fmla="*/ 23760 h 87769"/>
              <a:gd name="connsiteX43" fmla="*/ 28713 w 87769"/>
              <a:gd name="connsiteY43" fmla="*/ 28525 h 87769"/>
              <a:gd name="connsiteX44" fmla="*/ 23948 w 87769"/>
              <a:gd name="connsiteY44" fmla="*/ 35672 h 87769"/>
              <a:gd name="connsiteX45" fmla="*/ 21566 w 87769"/>
              <a:gd name="connsiteY45" fmla="*/ 42819 h 87769"/>
              <a:gd name="connsiteX46" fmla="*/ 21566 w 87769"/>
              <a:gd name="connsiteY46" fmla="*/ 42819 h 87769"/>
              <a:gd name="connsiteX47" fmla="*/ 23948 w 87769"/>
              <a:gd name="connsiteY47" fmla="*/ 52411 h 87769"/>
              <a:gd name="connsiteX48" fmla="*/ 28713 w 87769"/>
              <a:gd name="connsiteY48" fmla="*/ 59558 h 87769"/>
              <a:gd name="connsiteX49" fmla="*/ 35923 w 87769"/>
              <a:gd name="connsiteY49" fmla="*/ 64322 h 87769"/>
              <a:gd name="connsiteX50" fmla="*/ 45515 w 87769"/>
              <a:gd name="connsiteY50" fmla="*/ 66705 h 87769"/>
              <a:gd name="connsiteX51" fmla="*/ 45515 w 87769"/>
              <a:gd name="connsiteY51" fmla="*/ 66705 h 87769"/>
              <a:gd name="connsiteX52" fmla="*/ 52724 w 87769"/>
              <a:gd name="connsiteY52" fmla="*/ 64322 h 87769"/>
              <a:gd name="connsiteX53" fmla="*/ 59934 w 87769"/>
              <a:gd name="connsiteY53" fmla="*/ 59558 h 87769"/>
              <a:gd name="connsiteX54" fmla="*/ 64699 w 87769"/>
              <a:gd name="connsiteY54" fmla="*/ 52411 h 87769"/>
              <a:gd name="connsiteX55" fmla="*/ 67081 w 87769"/>
              <a:gd name="connsiteY55" fmla="*/ 42819 h 87769"/>
              <a:gd name="connsiteX56" fmla="*/ 67081 w 87769"/>
              <a:gd name="connsiteY56" fmla="*/ 42819 h 87769"/>
              <a:gd name="connsiteX57" fmla="*/ 64699 w 87769"/>
              <a:gd name="connsiteY57" fmla="*/ 35672 h 87769"/>
              <a:gd name="connsiteX58" fmla="*/ 59934 w 87769"/>
              <a:gd name="connsiteY58" fmla="*/ 28525 h 87769"/>
              <a:gd name="connsiteX59" fmla="*/ 52724 w 87769"/>
              <a:gd name="connsiteY59" fmla="*/ 23760 h 87769"/>
              <a:gd name="connsiteX60" fmla="*/ 45515 w 87769"/>
              <a:gd name="connsiteY60" fmla="*/ 21378 h 87769"/>
              <a:gd name="connsiteX61" fmla="*/ 45515 w 87769"/>
              <a:gd name="connsiteY61" fmla="*/ 21378 h 87769"/>
              <a:gd name="connsiteX62" fmla="*/ 45515 w 87769"/>
              <a:gd name="connsiteY62" fmla="*/ 21378 h 87769"/>
              <a:gd name="connsiteX63" fmla="*/ 45515 w 87769"/>
              <a:gd name="connsiteY63" fmla="*/ 21378 h 8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7769" h="87769">
                <a:moveTo>
                  <a:pt x="45515" y="88334"/>
                </a:moveTo>
                <a:lnTo>
                  <a:pt x="45515" y="88334"/>
                </a:lnTo>
                <a:lnTo>
                  <a:pt x="35923" y="85951"/>
                </a:lnTo>
                <a:lnTo>
                  <a:pt x="28713" y="83569"/>
                </a:lnTo>
                <a:lnTo>
                  <a:pt x="21503" y="78804"/>
                </a:lnTo>
                <a:lnTo>
                  <a:pt x="14294" y="74040"/>
                </a:lnTo>
                <a:lnTo>
                  <a:pt x="9529" y="69275"/>
                </a:lnTo>
                <a:lnTo>
                  <a:pt x="4765" y="59683"/>
                </a:lnTo>
                <a:lnTo>
                  <a:pt x="2382" y="52536"/>
                </a:lnTo>
                <a:lnTo>
                  <a:pt x="0" y="42944"/>
                </a:lnTo>
                <a:lnTo>
                  <a:pt x="0" y="42944"/>
                </a:lnTo>
                <a:lnTo>
                  <a:pt x="2382" y="35797"/>
                </a:lnTo>
                <a:lnTo>
                  <a:pt x="4765" y="26205"/>
                </a:lnTo>
                <a:lnTo>
                  <a:pt x="9529" y="19058"/>
                </a:lnTo>
                <a:lnTo>
                  <a:pt x="14294" y="11912"/>
                </a:lnTo>
                <a:lnTo>
                  <a:pt x="21503" y="7147"/>
                </a:lnTo>
                <a:lnTo>
                  <a:pt x="28713" y="2382"/>
                </a:lnTo>
                <a:lnTo>
                  <a:pt x="35923" y="0"/>
                </a:lnTo>
                <a:lnTo>
                  <a:pt x="45515" y="0"/>
                </a:lnTo>
                <a:lnTo>
                  <a:pt x="45515" y="0"/>
                </a:lnTo>
                <a:lnTo>
                  <a:pt x="52724" y="0"/>
                </a:lnTo>
                <a:lnTo>
                  <a:pt x="62316" y="2382"/>
                </a:lnTo>
                <a:lnTo>
                  <a:pt x="69526" y="7147"/>
                </a:lnTo>
                <a:lnTo>
                  <a:pt x="76735" y="11912"/>
                </a:lnTo>
                <a:lnTo>
                  <a:pt x="81500" y="19058"/>
                </a:lnTo>
                <a:lnTo>
                  <a:pt x="86265" y="26205"/>
                </a:lnTo>
                <a:lnTo>
                  <a:pt x="88647" y="35797"/>
                </a:lnTo>
                <a:lnTo>
                  <a:pt x="88647" y="42944"/>
                </a:lnTo>
                <a:lnTo>
                  <a:pt x="88647" y="42944"/>
                </a:lnTo>
                <a:lnTo>
                  <a:pt x="88647" y="52536"/>
                </a:lnTo>
                <a:lnTo>
                  <a:pt x="86265" y="59683"/>
                </a:lnTo>
                <a:lnTo>
                  <a:pt x="81500" y="69275"/>
                </a:lnTo>
                <a:lnTo>
                  <a:pt x="76735" y="74040"/>
                </a:lnTo>
                <a:lnTo>
                  <a:pt x="69526" y="78804"/>
                </a:lnTo>
                <a:lnTo>
                  <a:pt x="62316" y="83569"/>
                </a:lnTo>
                <a:lnTo>
                  <a:pt x="52724" y="85951"/>
                </a:lnTo>
                <a:lnTo>
                  <a:pt x="45515" y="88334"/>
                </a:lnTo>
                <a:lnTo>
                  <a:pt x="45515" y="88334"/>
                </a:lnTo>
                <a:lnTo>
                  <a:pt x="45515" y="88334"/>
                </a:lnTo>
                <a:lnTo>
                  <a:pt x="45515" y="88334"/>
                </a:lnTo>
                <a:close/>
                <a:moveTo>
                  <a:pt x="45515" y="21378"/>
                </a:moveTo>
                <a:lnTo>
                  <a:pt x="45515" y="21378"/>
                </a:lnTo>
                <a:lnTo>
                  <a:pt x="35923" y="23760"/>
                </a:lnTo>
                <a:lnTo>
                  <a:pt x="28713" y="28525"/>
                </a:lnTo>
                <a:lnTo>
                  <a:pt x="23948" y="35672"/>
                </a:lnTo>
                <a:lnTo>
                  <a:pt x="21566" y="42819"/>
                </a:lnTo>
                <a:lnTo>
                  <a:pt x="21566" y="42819"/>
                </a:lnTo>
                <a:lnTo>
                  <a:pt x="23948" y="52411"/>
                </a:lnTo>
                <a:lnTo>
                  <a:pt x="28713" y="59558"/>
                </a:lnTo>
                <a:lnTo>
                  <a:pt x="35923" y="64322"/>
                </a:lnTo>
                <a:lnTo>
                  <a:pt x="45515" y="66705"/>
                </a:lnTo>
                <a:lnTo>
                  <a:pt x="45515" y="66705"/>
                </a:lnTo>
                <a:lnTo>
                  <a:pt x="52724" y="64322"/>
                </a:lnTo>
                <a:lnTo>
                  <a:pt x="59934" y="59558"/>
                </a:lnTo>
                <a:lnTo>
                  <a:pt x="64699" y="52411"/>
                </a:lnTo>
                <a:lnTo>
                  <a:pt x="67081" y="42819"/>
                </a:lnTo>
                <a:lnTo>
                  <a:pt x="67081" y="42819"/>
                </a:lnTo>
                <a:lnTo>
                  <a:pt x="64699" y="35672"/>
                </a:lnTo>
                <a:lnTo>
                  <a:pt x="59934" y="28525"/>
                </a:lnTo>
                <a:lnTo>
                  <a:pt x="52724" y="23760"/>
                </a:lnTo>
                <a:lnTo>
                  <a:pt x="45515" y="21378"/>
                </a:lnTo>
                <a:lnTo>
                  <a:pt x="45515" y="21378"/>
                </a:lnTo>
                <a:lnTo>
                  <a:pt x="45515" y="21378"/>
                </a:lnTo>
                <a:lnTo>
                  <a:pt x="45515" y="21378"/>
                </a:lnTo>
                <a:close/>
              </a:path>
            </a:pathLst>
          </a:custGeom>
          <a:solidFill>
            <a:srgbClr val="FFFFFF"/>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1" name="Freeform: Shape 90">
            <a:extLst>
              <a:ext uri="{FF2B5EF4-FFF2-40B4-BE49-F238E27FC236}">
                <a16:creationId xmlns:a16="http://schemas.microsoft.com/office/drawing/2014/main" id="{E0F12E0A-5B8A-4B65-AF0F-4C7CBE55AB28}"/>
              </a:ext>
            </a:extLst>
          </p:cNvPr>
          <p:cNvSpPr/>
          <p:nvPr/>
        </p:nvSpPr>
        <p:spPr>
          <a:xfrm>
            <a:off x="5308912" y="5674359"/>
            <a:ext cx="106577" cy="188077"/>
          </a:xfrm>
          <a:custGeom>
            <a:avLst/>
            <a:gdLst>
              <a:gd name="connsiteX0" fmla="*/ 8714 w 106577"/>
              <a:gd name="connsiteY0" fmla="*/ 0 h 188077"/>
              <a:gd name="connsiteX1" fmla="*/ 0 w 106577"/>
              <a:gd name="connsiteY1" fmla="*/ 193719 h 188077"/>
              <a:gd name="connsiteX2" fmla="*/ 108834 w 106577"/>
              <a:gd name="connsiteY2" fmla="*/ 69651 h 188077"/>
            </a:gdLst>
            <a:ahLst/>
            <a:cxnLst>
              <a:cxn ang="0">
                <a:pos x="connsiteX0" y="connsiteY0"/>
              </a:cxn>
              <a:cxn ang="0">
                <a:pos x="connsiteX1" y="connsiteY1"/>
              </a:cxn>
              <a:cxn ang="0">
                <a:pos x="connsiteX2" y="connsiteY2"/>
              </a:cxn>
            </a:cxnLst>
            <a:rect l="l" t="t" r="r" b="b"/>
            <a:pathLst>
              <a:path w="106577" h="188077">
                <a:moveTo>
                  <a:pt x="8714" y="0"/>
                </a:moveTo>
                <a:lnTo>
                  <a:pt x="0" y="193719"/>
                </a:lnTo>
                <a:lnTo>
                  <a:pt x="108834" y="69651"/>
                </a:lnTo>
                <a:close/>
              </a:path>
            </a:pathLst>
          </a:custGeom>
          <a:solidFill>
            <a:schemeClr val="accent1"/>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2" name="Freeform: Shape 91">
            <a:extLst>
              <a:ext uri="{FF2B5EF4-FFF2-40B4-BE49-F238E27FC236}">
                <a16:creationId xmlns:a16="http://schemas.microsoft.com/office/drawing/2014/main" id="{E6E14432-5CFB-48DC-B2FB-30073BB4966F}"/>
              </a:ext>
            </a:extLst>
          </p:cNvPr>
          <p:cNvSpPr/>
          <p:nvPr/>
        </p:nvSpPr>
        <p:spPr>
          <a:xfrm>
            <a:off x="5790827" y="5856793"/>
            <a:ext cx="131654" cy="163000"/>
          </a:xfrm>
          <a:custGeom>
            <a:avLst/>
            <a:gdLst>
              <a:gd name="connsiteX0" fmla="*/ 0 w 131654"/>
              <a:gd name="connsiteY0" fmla="*/ 23886 h 163000"/>
              <a:gd name="connsiteX1" fmla="*/ 133598 w 131654"/>
              <a:gd name="connsiteY1" fmla="*/ 164442 h 163000"/>
              <a:gd name="connsiteX2" fmla="*/ 119617 w 131654"/>
              <a:gd name="connsiteY2" fmla="*/ 0 h 163000"/>
            </a:gdLst>
            <a:ahLst/>
            <a:cxnLst>
              <a:cxn ang="0">
                <a:pos x="connsiteX0" y="connsiteY0"/>
              </a:cxn>
              <a:cxn ang="0">
                <a:pos x="connsiteX1" y="connsiteY1"/>
              </a:cxn>
              <a:cxn ang="0">
                <a:pos x="connsiteX2" y="connsiteY2"/>
              </a:cxn>
            </a:cxnLst>
            <a:rect l="l" t="t" r="r" b="b"/>
            <a:pathLst>
              <a:path w="131654" h="163000">
                <a:moveTo>
                  <a:pt x="0" y="23886"/>
                </a:moveTo>
                <a:lnTo>
                  <a:pt x="133598" y="164442"/>
                </a:lnTo>
                <a:lnTo>
                  <a:pt x="119617" y="0"/>
                </a:lnTo>
                <a:close/>
              </a:path>
            </a:pathLst>
          </a:custGeom>
          <a:solidFill>
            <a:schemeClr val="accent1"/>
          </a:solidFill>
          <a:ln w="6212" cap="flat">
            <a:noFill/>
            <a:prstDash val="solid"/>
            <a:miter/>
          </a:ln>
        </p:spPr>
        <p:txBody>
          <a:bodyPr rtlCol="0" anchor="ctr"/>
          <a:lstStyle/>
          <a:p>
            <a:endParaRPr lang="en-US">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93" name="Rectangle 92">
            <a:extLst>
              <a:ext uri="{FF2B5EF4-FFF2-40B4-BE49-F238E27FC236}">
                <a16:creationId xmlns:a16="http://schemas.microsoft.com/office/drawing/2014/main" id="{09182974-F632-4D41-A037-21D07E634F1B}"/>
              </a:ext>
            </a:extLst>
          </p:cNvPr>
          <p:cNvSpPr/>
          <p:nvPr/>
        </p:nvSpPr>
        <p:spPr>
          <a:xfrm>
            <a:off x="4171955" y="5498248"/>
            <a:ext cx="1219167" cy="3697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dirty="0">
                <a:latin typeface="EYInterstate Light" panose="02000506000000020004" pitchFamily="2" charset="0"/>
                <a:cs typeface="Arial" panose="020B0604020202020204" pitchFamily="34" charset="0"/>
                <a:sym typeface="EYInterstate Light" panose="02000506000000020004" pitchFamily="2" charset="0"/>
              </a:rPr>
              <a:t>No solid</a:t>
            </a:r>
            <a:br>
              <a:rPr lang="en-US" sz="1100" dirty="0">
                <a:latin typeface="EYInterstate Light" panose="02000506000000020004" pitchFamily="2" charset="0"/>
                <a:cs typeface="Arial" panose="020B0604020202020204" pitchFamily="34" charset="0"/>
                <a:sym typeface="EYInterstate Light" panose="02000506000000020004" pitchFamily="2" charset="0"/>
              </a:rPr>
            </a:br>
            <a:r>
              <a:rPr lang="en-US" sz="1100" dirty="0">
                <a:latin typeface="EYInterstate Light" panose="02000506000000020004" pitchFamily="2" charset="0"/>
                <a:cs typeface="Arial" panose="020B0604020202020204" pitchFamily="34" charset="0"/>
                <a:sym typeface="EYInterstate Light" panose="02000506000000020004" pitchFamily="2" charset="0"/>
              </a:rPr>
              <a:t>fill icons</a:t>
            </a:r>
            <a:endParaRPr lang="en-US" sz="11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548933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AeUiX7b3nUAMw8X3SIG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M5_oa5woLjdy4C1KE_D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0MpBpMkuc3lS_rxqhXZ9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hGXfGuvbY8nJ2u7ZeK2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5ccv5vl0LOHdl9It1dR1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Aw74zpNWRTHC8zniBU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bhD9miwmAGe4hZYYB94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dPsb0c66msjHBxSaXXq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NT6X1mYudknnLsAQxyd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bJ_QRkA9w9nQUU4J6QRkg"/>
</p:tagLst>
</file>

<file path=ppt/tags/tag11.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iKdYvndj9Pwb9mpeFZO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PZskIU5cjZ6buNIQTm3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CZT71uoID65zQTXk8I3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TFl4E0TJyp58zE37VJeA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z8rCc2IA1CQCPDBqDmG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zeBzdWTuw103oL0pcKXb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QupWPkT66OVygcNQbuMC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fnfiBJS25FC8Eu4bSEg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CY1SuyAC2eLtAAPTmEte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MC2il5J_nIQXa2NmSGHQ"/>
</p:tagLst>
</file>

<file path=ppt/tags/tag1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X8O766u6e_mTUyLOsS9TM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zmpqkB0wH.gu942owTI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cHDUa.YLWSKusVLqy69b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UiQgL9_uKhTHKppAsqZ_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0IUS7nv8sZxMpbsSfx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5UEu9xgUcH46Bc8NAkQ4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xQccn_.MFfGpxn6iYUhg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46lN399gRcRdoRdPxQ7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HInIE2laWE_yIEpfnI4z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Bx4xplasGEqL.ww6BaYqQ"/>
</p:tagLst>
</file>

<file path=ppt/tags/tag13.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EHj7HBMeUSfWeEseCvc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xtt55qcmwsGI4yy_WEM3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cnW8yiyMpnVqkJBK98nkZg"/>
</p:tagLst>
</file>

<file path=ppt/tags/tag1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4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irAl.bpJfeMrbC1k0DCeA"/>
</p:tagLst>
</file>

<file path=ppt/tags/tag47.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4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b5zKLLnYEFid.0tSjsS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b5zKLLnYEFid.0tSjsSi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OucrLypGg0ah.t6LZ..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D8GlINtGCiofR4reoQm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uFX1iCn.zzRE19RZ2_O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Wo1P_HW8h..btpW6sZE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7KfSbqNXQPXJ3N3QY0iY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c55ecV9f.exjQr7vCfV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LlGvvDEMrvy1w_rHvG.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b.TxmNWMthvY7v3vTLI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JSiRc8HExyVjFPCXFX1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irAl.bpJfeMrbC1k0DC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Jw_WPONVRjbhII4Auqp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1iLftfTonMwWk.xgSt3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10aZlRw2UhG6M1OG63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pZdWwtJyo7NC4E6xS83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RbaqOyhSN0O6F8mg6o6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DGLoSzZvqVV5otY91bP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n2JWvLuX.OcOcZ.0kIA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S0QRa08UjExzXSomktd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FEtYQ_v2_5epuLcgrpprw"/>
</p:tagLst>
</file>

<file path=ppt/theme/theme1.xml><?xml version="1.0" encoding="utf-8"?>
<a:theme xmlns:a="http://schemas.openxmlformats.org/drawingml/2006/main" name="EY-Parthenon dark background">
  <a:themeElements>
    <a:clrScheme name="Parthenon_Dark_Theme">
      <a:dk1>
        <a:srgbClr val="2E2E38"/>
      </a:dk1>
      <a:lt1>
        <a:srgbClr val="FFFFFF"/>
      </a:lt1>
      <a:dk2>
        <a:srgbClr val="000000"/>
      </a:dk2>
      <a:lt2>
        <a:srgbClr val="FFE600"/>
      </a:lt2>
      <a:accent1>
        <a:srgbClr val="1A9AFA"/>
      </a:accent1>
      <a:accent2>
        <a:srgbClr val="2E2E38"/>
      </a:accent2>
      <a:accent3>
        <a:srgbClr val="747480"/>
      </a:accent3>
      <a:accent4>
        <a:srgbClr val="C4C4CD"/>
      </a:accent4>
      <a:accent5>
        <a:srgbClr val="FF4136"/>
      </a:accent5>
      <a:accent6>
        <a:srgbClr val="2DB757"/>
      </a:accent6>
      <a:hlink>
        <a:srgbClr val="747480"/>
      </a:hlink>
      <a:folHlink>
        <a:srgbClr val="747480"/>
      </a:folHlink>
    </a:clrScheme>
    <a:fontScheme name="EY-Parthenon marketing presentation">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tlCol="0" anchor="ctr" anchorCtr="0"/>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4"/>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28600" indent="-228600" algn="l">
          <a:lnSpc>
            <a:spcPct val="85000"/>
          </a:lnSpc>
          <a:spcAft>
            <a:spcPts val="600"/>
          </a:spcAft>
          <a:buSzPct val="70000"/>
          <a:buFont typeface="Arial" panose="020B0604020202020204" pitchFamily="34" charset="0"/>
          <a:buChar char="►"/>
          <a:defRPr sz="1200" dirty="0" err="1" smtClean="0">
            <a:solidFill>
              <a:schemeClr val="bg1"/>
            </a:solidFill>
          </a:defRPr>
        </a:defPPr>
      </a:lstStyle>
    </a:txDef>
  </a:objectDefaults>
  <a:extraClrSchemeLst/>
  <a:custClrLst>
    <a:custClr name="Teal05">
      <a:srgbClr val="109090"/>
    </a:custClr>
    <a:custClr name="Green05">
      <a:srgbClr val="189D3E"/>
    </a:custClr>
    <a:custClr name="Orange05">
      <a:srgbClr val="F76900"/>
    </a:custClr>
    <a:custClr name="Purple05">
      <a:srgbClr val="240D75"/>
    </a:custClr>
    <a:custClr name="Maroon05">
      <a:srgbClr val="5A0A42"/>
    </a:custClr>
    <a:custClr name="Red05">
      <a:srgbClr val="E0362C"/>
    </a:custClr>
    <a:custClr name="blank">
      <a:srgbClr val="FFFFFF"/>
    </a:custClr>
    <a:custClr name="blank">
      <a:srgbClr val="FFFFFF"/>
    </a:custClr>
    <a:custClr name="blank">
      <a:srgbClr val="FFFFFF"/>
    </a:custClr>
    <a:custClr name="blank">
      <a:srgbClr val="FFFFFF"/>
    </a:custClr>
    <a:custClr name="Teal04">
      <a:srgbClr val="27ACAA"/>
    </a:custClr>
    <a:custClr name="Green04">
      <a:srgbClr val="2DB757"/>
    </a:custClr>
    <a:custClr name="Orange04">
      <a:srgbClr val="FF6D00"/>
    </a:custClr>
    <a:custClr name="Purple04">
      <a:srgbClr val="3D108A"/>
    </a:custClr>
    <a:custClr name="Maroon04">
      <a:srgbClr val="750E5C"/>
    </a:custClr>
    <a:custClr name="Red04">
      <a:srgbClr val="FF4136"/>
    </a:custClr>
    <a:custClr name="blank">
      <a:srgbClr val="FFFFFF"/>
    </a:custClr>
    <a:custClr name="blank">
      <a:srgbClr val="FFFFFF"/>
    </a:custClr>
    <a:custClr name="blank">
      <a:srgbClr val="FFFFFF"/>
    </a:custClr>
    <a:custClr name="blank">
      <a:srgbClr val="FFFFFF"/>
    </a:custClr>
    <a:custClr name="Teal03">
      <a:srgbClr val="42C9C2"/>
    </a:custClr>
    <a:custClr name="Green03">
      <a:srgbClr val="34C768"/>
    </a:custClr>
    <a:custClr name="Orange03">
      <a:srgbClr val="FF810A"/>
    </a:custClr>
    <a:custClr name="Purple03">
      <a:srgbClr val="542EA5"/>
    </a:custClr>
    <a:custClr name="Maroon03">
      <a:srgbClr val="922B73"/>
    </a:custClr>
    <a:custClr name="Red03">
      <a:srgbClr val="F95D54"/>
    </a:custClr>
    <a:custClr name="blank">
      <a:srgbClr val="FFFFFF"/>
    </a:custClr>
    <a:custClr name="blank">
      <a:srgbClr val="FFFFFF"/>
    </a:custClr>
    <a:custClr name="blank">
      <a:srgbClr val="FFFFFF"/>
    </a:custClr>
    <a:custClr name="blank">
      <a:srgbClr val="FFFFFF"/>
    </a:custClr>
    <a:custClr name="Teal02">
      <a:srgbClr val="60E6E1"/>
    </a:custClr>
    <a:custClr name="Green02">
      <a:srgbClr val="57E188"/>
    </a:custClr>
    <a:custClr name="Orange02">
      <a:srgbClr val="FF9831"/>
    </a:custClr>
    <a:custClr name="Purple">
      <a:srgbClr val="724BC3"/>
    </a:custClr>
    <a:custClr name="Maroon02">
      <a:srgbClr val="B14891"/>
    </a:custClr>
    <a:custClr name="Red02">
      <a:srgbClr val="FF736A"/>
    </a:custClr>
    <a:custClr name="blank">
      <a:srgbClr val="FFFFFF"/>
    </a:custClr>
    <a:custClr name="blank">
      <a:srgbClr val="FFFFFF"/>
    </a:custClr>
    <a:custClr name="blank">
      <a:srgbClr val="FFFFFF"/>
    </a:custClr>
    <a:custClr name="blank">
      <a:srgbClr val="FFFFFF"/>
    </a:custClr>
    <a:custClr name="Teal01">
      <a:srgbClr val="93F0E6"/>
    </a:custClr>
    <a:custClr name="Green01">
      <a:srgbClr val="8CE8AD"/>
    </a:custClr>
    <a:custClr name="Orange01">
      <a:srgbClr val="FFB46A"/>
    </a:custClr>
    <a:custClr name="Purple01">
      <a:srgbClr val="9C82D4"/>
    </a:custClr>
    <a:custClr name="Maroon01">
      <a:srgbClr val="C981B2"/>
    </a:custClr>
    <a:custClr name="Red01">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_MARKETING_wide screen white &amp; off black background_vFinalDraft.potx" id="{BCFD2E2C-2C1A-44E6-9B66-6604B1CD1DF1}" vid="{85764734-84CF-4E6F-ACEE-E461502E2E77}"/>
    </a:ext>
  </a:extLst>
</a:theme>
</file>

<file path=ppt/theme/theme2.xml><?xml version="1.0" encoding="utf-8"?>
<a:theme xmlns:a="http://schemas.openxmlformats.org/drawingml/2006/main" name="EY-Parthenon light background">
  <a:themeElements>
    <a:clrScheme name="EY-Parthenon Rebrand 2020 Ligh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Newslet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noFill/>
        </a:ln>
      </a:spPr>
      <a:bodyPr rtlCol="0" anchor="ctr" anchorCtr="0"/>
      <a:lstStyle>
        <a:defPPr algn="ctr">
          <a:defRPr sz="1100" dirty="0" err="1" smtClean="0">
            <a:solidFill>
              <a:schemeClr val="tx1"/>
            </a:solidFill>
            <a:latin typeface="EYInterstate Light" panose="0200050600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174625" indent="-174625" algn="l">
          <a:buSzPct val="70000"/>
          <a:buFont typeface="Arial" panose="020B0604020202020204" pitchFamily="34" charset="0"/>
          <a:buChar char="►"/>
          <a:defRPr sz="1100" dirty="0" err="1" smtClean="0">
            <a:solidFill>
              <a:schemeClr val="bg1"/>
            </a:solidFill>
            <a:latin typeface="EYInterstate Light" panose="02000506000000020004" pitchFamily="2" charset="0"/>
          </a:defRPr>
        </a:defPPr>
      </a:lstStyle>
    </a:txDef>
  </a:objectDefaults>
  <a:extraClrSchemeLst/>
  <a:custClrLst>
    <a:custClr name="Teal05">
      <a:srgbClr val="109090"/>
    </a:custClr>
    <a:custClr name="Green05">
      <a:srgbClr val="189D3E"/>
    </a:custClr>
    <a:custClr name="Orange05">
      <a:srgbClr val="F76900"/>
    </a:custClr>
    <a:custClr name="Purple05">
      <a:srgbClr val="240D75"/>
    </a:custClr>
    <a:custClr name="Maroon05">
      <a:srgbClr val="5A0A42"/>
    </a:custClr>
    <a:custClr name="Red05">
      <a:srgbClr val="E0362C"/>
    </a:custClr>
    <a:custClr name="blank">
      <a:srgbClr val="FFFFFF"/>
    </a:custClr>
    <a:custClr name="blank">
      <a:srgbClr val="FFFFFF"/>
    </a:custClr>
    <a:custClr name="blank">
      <a:srgbClr val="FFFFFF"/>
    </a:custClr>
    <a:custClr name="blank">
      <a:srgbClr val="FFFFFF"/>
    </a:custClr>
    <a:custClr name="Teal04">
      <a:srgbClr val="27ACAA"/>
    </a:custClr>
    <a:custClr name="Green04">
      <a:srgbClr val="2DB757"/>
    </a:custClr>
    <a:custClr name="Orange04">
      <a:srgbClr val="FF6D00"/>
    </a:custClr>
    <a:custClr name="Purple04">
      <a:srgbClr val="3D108A"/>
    </a:custClr>
    <a:custClr name="Maroon04">
      <a:srgbClr val="750E5C"/>
    </a:custClr>
    <a:custClr name="Red04">
      <a:srgbClr val="FF4136"/>
    </a:custClr>
    <a:custClr name="blank">
      <a:srgbClr val="FFFFFF"/>
    </a:custClr>
    <a:custClr name="blank">
      <a:srgbClr val="FFFFFF"/>
    </a:custClr>
    <a:custClr name="blank">
      <a:srgbClr val="FFFFFF"/>
    </a:custClr>
    <a:custClr name="blank">
      <a:srgbClr val="FFFFFF"/>
    </a:custClr>
    <a:custClr name="Teal03">
      <a:srgbClr val="42C9C2"/>
    </a:custClr>
    <a:custClr name="Green03">
      <a:srgbClr val="34C768"/>
    </a:custClr>
    <a:custClr name="Orange03">
      <a:srgbClr val="FF810A"/>
    </a:custClr>
    <a:custClr name="Purple03">
      <a:srgbClr val="542EA5"/>
    </a:custClr>
    <a:custClr name="Maroon03">
      <a:srgbClr val="922B73"/>
    </a:custClr>
    <a:custClr name="Red03">
      <a:srgbClr val="F95D54"/>
    </a:custClr>
    <a:custClr name="blank">
      <a:srgbClr val="FFFFFF"/>
    </a:custClr>
    <a:custClr name="blank">
      <a:srgbClr val="FFFFFF"/>
    </a:custClr>
    <a:custClr name="blank">
      <a:srgbClr val="FFFFFF"/>
    </a:custClr>
    <a:custClr name="blank">
      <a:srgbClr val="FFFFFF"/>
    </a:custClr>
    <a:custClr name="Teal02">
      <a:srgbClr val="60E6E1"/>
    </a:custClr>
    <a:custClr name="Green02">
      <a:srgbClr val="57E188"/>
    </a:custClr>
    <a:custClr name="Orange02">
      <a:srgbClr val="FF9831"/>
    </a:custClr>
    <a:custClr name="Purple">
      <a:srgbClr val="724BC3"/>
    </a:custClr>
    <a:custClr name="Maroon02">
      <a:srgbClr val="B14891"/>
    </a:custClr>
    <a:custClr name="Red02">
      <a:srgbClr val="FF736A"/>
    </a:custClr>
    <a:custClr name="blank">
      <a:srgbClr val="FFFFFF"/>
    </a:custClr>
    <a:custClr name="blank">
      <a:srgbClr val="FFFFFF"/>
    </a:custClr>
    <a:custClr name="blank">
      <a:srgbClr val="FFFFFF"/>
    </a:custClr>
    <a:custClr name="blank">
      <a:srgbClr val="FFFFFF"/>
    </a:custClr>
    <a:custClr name="Teal01">
      <a:srgbClr val="93F0E6"/>
    </a:custClr>
    <a:custClr name="Green01">
      <a:srgbClr val="8CE8AD"/>
    </a:custClr>
    <a:custClr name="Orange01">
      <a:srgbClr val="FFB46A"/>
    </a:custClr>
    <a:custClr name="Purple01">
      <a:srgbClr val="9C82D4"/>
    </a:custClr>
    <a:custClr name="Maroon01">
      <a:srgbClr val="C981B2"/>
    </a:custClr>
    <a:custClr name="Red01">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_MARKETING_wide screen white &amp; off black background_vFinalDraft.potx" id="{BCFD2E2C-2C1A-44E6-9B66-6604B1CD1DF1}" vid="{E3727F8A-E8B1-4BFF-B523-AFDDEBF247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0C48E5EFADEF44BA2B995FAB7E7319" ma:contentTypeVersion="0" ma:contentTypeDescription="Create a new document." ma:contentTypeScope="" ma:versionID="96f7fb7f889700770311f407c09d2d16">
  <xsd:schema xmlns:xsd="http://www.w3.org/2001/XMLSchema" xmlns:xs="http://www.w3.org/2001/XMLSchema" xmlns:p="http://schemas.microsoft.com/office/2006/metadata/properties" targetNamespace="http://schemas.microsoft.com/office/2006/metadata/properties" ma:root="true" ma:fieldsID="edf8ba54238499bd82b4e933d95bc46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FAB3E3-354B-4FBB-8316-8C335BA24C79}">
  <ds:schemaRefs>
    <ds:schemaRef ds:uri="http://schemas.microsoft.com/sharepoint/v3/contenttype/forms"/>
  </ds:schemaRefs>
</ds:datastoreItem>
</file>

<file path=customXml/itemProps2.xml><?xml version="1.0" encoding="utf-8"?>
<ds:datastoreItem xmlns:ds="http://schemas.openxmlformats.org/officeDocument/2006/customXml" ds:itemID="{ED8B833E-E673-418B-9310-E7663F5166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F3B5B2A-D5FB-4470-90E7-A91792E26D2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P_MARKETING_wide screen white &amp; off black background_vFinalDraft</Template>
  <TotalTime>824</TotalTime>
  <Words>275</Words>
  <Application>Microsoft Office PowerPoint</Application>
  <PresentationFormat>Widescreen</PresentationFormat>
  <Paragraphs>99</Paragraphs>
  <Slides>8</Slides>
  <Notes>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EYInterstate</vt:lpstr>
      <vt:lpstr>EYInterstate Light</vt:lpstr>
      <vt:lpstr>Georgia</vt:lpstr>
      <vt:lpstr>Wingdings</vt:lpstr>
      <vt:lpstr>EY-Parthenon dark background</vt:lpstr>
      <vt:lpstr>EY-Parthenon light background</vt:lpstr>
      <vt:lpstr>think-cell Slide</vt:lpstr>
      <vt:lpstr>Group A – BYOP IPBA Batch-13, Indian Institute of Management- Indore</vt:lpstr>
      <vt:lpstr>PowerPoint Presentation</vt:lpstr>
      <vt:lpstr>BYOP Project Brief</vt:lpstr>
      <vt:lpstr>BYOP Project Brief</vt:lpstr>
      <vt:lpstr>PowerPoint Presentation</vt:lpstr>
      <vt:lpstr>Chart sample (Think-cell charts) advanced user palette</vt:lpstr>
      <vt:lpstr>Chart sample (Think-cell charts) advanced user palette</vt:lpstr>
      <vt:lpstr>Outline illustr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this layout for statement titles</dc:title>
  <dc:creator>Rajeev Birdi</dc:creator>
  <cp:keywords/>
  <cp:lastModifiedBy>Priya Roy</cp:lastModifiedBy>
  <cp:revision>2</cp:revision>
  <dcterms:created xsi:type="dcterms:W3CDTF">2021-11-23T09:59:01Z</dcterms:created>
  <dcterms:modified xsi:type="dcterms:W3CDTF">2023-04-04T18:31:0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0C48E5EFADEF44BA2B995FAB7E7319</vt:lpwstr>
  </property>
</Properties>
</file>